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8.xml" ContentType="application/vnd.openxmlformats-officedocument.presentationml.notesSlide+xml"/>
  <Override PartName="/ppt/tags/tag61.xml" ContentType="application/vnd.openxmlformats-officedocument.presentationml.tags+xml"/>
  <Override PartName="/ppt/notesSlides/notesSlide2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4.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40.xml" ContentType="application/vnd.openxmlformats-officedocument.presentationml.notesSlide+xml"/>
  <Override PartName="/ppt/tags/tag85.xml" ContentType="application/vnd.openxmlformats-officedocument.presentationml.tags+xml"/>
  <Override PartName="/ppt/notesSlides/notesSlide4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2.xml" ContentType="application/vnd.openxmlformats-officedocument.presentationml.notesSlide+xml"/>
  <Override PartName="/ppt/tags/tag88.xml" ContentType="application/vnd.openxmlformats-officedocument.presentationml.tags+xml"/>
  <Override PartName="/ppt/notesSlides/notesSlide43.xml" ContentType="application/vnd.openxmlformats-officedocument.presentationml.notesSlide+xml"/>
  <Override PartName="/ppt/tags/tag89.xml" ContentType="application/vnd.openxmlformats-officedocument.presentationml.tags+xml"/>
  <Override PartName="/ppt/notesSlides/notesSlide4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9"/>
  </p:notesMasterIdLst>
  <p:handoutMasterIdLst>
    <p:handoutMasterId r:id="rId50"/>
  </p:handoutMasterIdLst>
  <p:sldIdLst>
    <p:sldId id="305" r:id="rId2"/>
    <p:sldId id="281" r:id="rId3"/>
    <p:sldId id="314" r:id="rId4"/>
    <p:sldId id="308" r:id="rId5"/>
    <p:sldId id="313" r:id="rId6"/>
    <p:sldId id="360" r:id="rId7"/>
    <p:sldId id="361" r:id="rId8"/>
    <p:sldId id="315" r:id="rId9"/>
    <p:sldId id="358" r:id="rId10"/>
    <p:sldId id="309" r:id="rId11"/>
    <p:sldId id="324" r:id="rId12"/>
    <p:sldId id="328" r:id="rId13"/>
    <p:sldId id="325" r:id="rId14"/>
    <p:sldId id="316" r:id="rId15"/>
    <p:sldId id="357" r:id="rId16"/>
    <p:sldId id="323" r:id="rId17"/>
    <p:sldId id="320" r:id="rId18"/>
    <p:sldId id="353" r:id="rId19"/>
    <p:sldId id="354" r:id="rId20"/>
    <p:sldId id="317" r:id="rId21"/>
    <p:sldId id="335" r:id="rId22"/>
    <p:sldId id="318" r:id="rId23"/>
    <p:sldId id="355" r:id="rId24"/>
    <p:sldId id="356" r:id="rId25"/>
    <p:sldId id="337" r:id="rId26"/>
    <p:sldId id="330" r:id="rId27"/>
    <p:sldId id="329" r:id="rId28"/>
    <p:sldId id="331" r:id="rId29"/>
    <p:sldId id="333" r:id="rId30"/>
    <p:sldId id="340" r:id="rId31"/>
    <p:sldId id="362" r:id="rId32"/>
    <p:sldId id="336" r:id="rId33"/>
    <p:sldId id="338" r:id="rId34"/>
    <p:sldId id="332" r:id="rId35"/>
    <p:sldId id="341" r:id="rId36"/>
    <p:sldId id="342" r:id="rId37"/>
    <p:sldId id="343" r:id="rId38"/>
    <p:sldId id="339" r:id="rId39"/>
    <p:sldId id="344" r:id="rId40"/>
    <p:sldId id="345" r:id="rId41"/>
    <p:sldId id="346" r:id="rId42"/>
    <p:sldId id="347" r:id="rId43"/>
    <p:sldId id="348" r:id="rId44"/>
    <p:sldId id="349" r:id="rId45"/>
    <p:sldId id="350" r:id="rId46"/>
    <p:sldId id="319" r:id="rId47"/>
    <p:sldId id="326" r:id="rId48"/>
  </p:sldIdLst>
  <p:sldSz cx="12192000" cy="6858000"/>
  <p:notesSz cx="7104063" cy="10234613"/>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8C3F84-4C29-4233-992B-2D26DEA7756B}" v="7026" dt="2023-11-21T08:58:06.628"/>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067" autoAdjust="0"/>
  </p:normalViewPr>
  <p:slideViewPr>
    <p:cSldViewPr snapToGrid="0" showGuides="1">
      <p:cViewPr>
        <p:scale>
          <a:sx n="100" d="100"/>
          <a:sy n="100" d="100"/>
        </p:scale>
        <p:origin x="852" y="13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9T12:15:28.061" v="11875"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8T09:01:32.348" v="11856" actId="20577"/>
        <pc:sldMkLst>
          <pc:docMk/>
          <pc:sldMk cId="3780667075" sldId="324"/>
        </pc:sldMkLst>
        <pc:spChg chg="mod">
          <ac:chgData name="Tobias Brammer" userId="80a1e1bd-3b82-47a5-b259-da62a397db92" providerId="ADAL" clId="{CC804E0E-B381-4A8C-832B-11046074747A}" dt="2023-09-28T09:01:32.348" v="11856"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8:48:38.766" v="11847" actId="404"/>
        <pc:sldMkLst>
          <pc:docMk/>
          <pc:sldMk cId="762254632" sldId="327"/>
        </pc:sldMkLst>
        <pc:spChg chg="mod">
          <ac:chgData name="Tobias Brammer" userId="80a1e1bd-3b82-47a5-b259-da62a397db92" providerId="ADAL" clId="{CC804E0E-B381-4A8C-832B-11046074747A}" dt="2023-09-28T08:48:38.766" v="11847" actId="404"/>
          <ac:spMkLst>
            <pc:docMk/>
            <pc:sldMk cId="762254632" sldId="327"/>
            <ac:spMk id="5" creationId="{0256447C-D35F-4F86-D90B-E90F6B46AE7F}"/>
          </ac:spMkLst>
        </pc:spChg>
      </pc:sldChg>
      <pc:sldChg chg="modSp add mod">
        <pc:chgData name="Tobias Brammer" userId="80a1e1bd-3b82-47a5-b259-da62a397db92" providerId="ADAL" clId="{CC804E0E-B381-4A8C-832B-11046074747A}" dt="2023-09-29T12:15:28.061" v="11875" actId="20577"/>
        <pc:sldMkLst>
          <pc:docMk/>
          <pc:sldMk cId="3444026750" sldId="328"/>
        </pc:sldMkLst>
        <pc:spChg chg="mod">
          <ac:chgData name="Tobias Brammer" userId="80a1e1bd-3b82-47a5-b259-da62a397db92" providerId="ADAL" clId="{CC804E0E-B381-4A8C-832B-11046074747A}" dt="2023-09-29T12:15:28.061" v="11875" actId="20577"/>
          <ac:spMkLst>
            <pc:docMk/>
            <pc:sldMk cId="3444026750" sldId="328"/>
            <ac:spMk id="10" creationId="{6123F9E9-4EDA-8639-0B90-4D3A855C3D7A}"/>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4309C268-4C5E-44FD-9D52-D042135427E2}"/>
    <pc:docChg chg="undo custSel addSld delSld modSld sldOrd replTag">
      <pc:chgData name="Tobias Brammer" userId="80a1e1bd-3b82-47a5-b259-da62a397db92" providerId="ADAL" clId="{4309C268-4C5E-44FD-9D52-D042135427E2}" dt="2023-11-16T13:27:02.165" v="1955" actId="47"/>
      <pc:docMkLst>
        <pc:docMk/>
      </pc:docMkLst>
      <pc:sldChg chg="mod modTransition modShow">
        <pc:chgData name="Tobias Brammer" userId="80a1e1bd-3b82-47a5-b259-da62a397db92" providerId="ADAL" clId="{4309C268-4C5E-44FD-9D52-D042135427E2}" dt="2023-11-16T11:51:36.784" v="1"/>
        <pc:sldMkLst>
          <pc:docMk/>
          <pc:sldMk cId="2492524537" sldId="309"/>
        </pc:sldMkLst>
      </pc:sldChg>
      <pc:sldChg chg="del">
        <pc:chgData name="Tobias Brammer" userId="80a1e1bd-3b82-47a5-b259-da62a397db92" providerId="ADAL" clId="{4309C268-4C5E-44FD-9D52-D042135427E2}" dt="2023-11-16T12:16:04.396" v="790" actId="47"/>
        <pc:sldMkLst>
          <pc:docMk/>
          <pc:sldMk cId="3090062221" sldId="311"/>
        </pc:sldMkLst>
      </pc:sldChg>
      <pc:sldChg chg="delSp mod">
        <pc:chgData name="Tobias Brammer" userId="80a1e1bd-3b82-47a5-b259-da62a397db92" providerId="ADAL" clId="{4309C268-4C5E-44FD-9D52-D042135427E2}" dt="2023-11-16T11:52:23.817" v="8" actId="478"/>
        <pc:sldMkLst>
          <pc:docMk/>
          <pc:sldMk cId="1578015824" sldId="321"/>
        </pc:sldMkLst>
        <pc:picChg chg="del">
          <ac:chgData name="Tobias Brammer" userId="80a1e1bd-3b82-47a5-b259-da62a397db92" providerId="ADAL" clId="{4309C268-4C5E-44FD-9D52-D042135427E2}" dt="2023-11-16T11:52:22.634" v="6" actId="478"/>
          <ac:picMkLst>
            <pc:docMk/>
            <pc:sldMk cId="1578015824" sldId="321"/>
            <ac:picMk id="5" creationId="{49FEF599-4481-3F8B-4151-51CFB1C73A1D}"/>
          </ac:picMkLst>
        </pc:picChg>
        <pc:picChg chg="del">
          <ac:chgData name="Tobias Brammer" userId="80a1e1bd-3b82-47a5-b259-da62a397db92" providerId="ADAL" clId="{4309C268-4C5E-44FD-9D52-D042135427E2}" dt="2023-11-16T11:52:23.817" v="8" actId="478"/>
          <ac:picMkLst>
            <pc:docMk/>
            <pc:sldMk cId="1578015824" sldId="321"/>
            <ac:picMk id="8" creationId="{7AC3476A-B839-CB17-91E2-ACF997C5763B}"/>
          </ac:picMkLst>
        </pc:picChg>
        <pc:picChg chg="del">
          <ac:chgData name="Tobias Brammer" userId="80a1e1bd-3b82-47a5-b259-da62a397db92" providerId="ADAL" clId="{4309C268-4C5E-44FD-9D52-D042135427E2}" dt="2023-11-16T11:52:23.481" v="7" actId="478"/>
          <ac:picMkLst>
            <pc:docMk/>
            <pc:sldMk cId="1578015824" sldId="321"/>
            <ac:picMk id="11" creationId="{BD1D84C1-6A33-A37C-5477-C4E523C619A0}"/>
          </ac:picMkLst>
        </pc:picChg>
      </pc:sldChg>
      <pc:sldChg chg="mod modTransition modShow">
        <pc:chgData name="Tobias Brammer" userId="80a1e1bd-3b82-47a5-b259-da62a397db92" providerId="ADAL" clId="{4309C268-4C5E-44FD-9D52-D042135427E2}" dt="2023-11-16T11:51:36.784" v="1"/>
        <pc:sldMkLst>
          <pc:docMk/>
          <pc:sldMk cId="3780667075" sldId="324"/>
        </pc:sldMkLst>
      </pc:sldChg>
      <pc:sldChg chg="mod modTransition modShow">
        <pc:chgData name="Tobias Brammer" userId="80a1e1bd-3b82-47a5-b259-da62a397db92" providerId="ADAL" clId="{4309C268-4C5E-44FD-9D52-D042135427E2}" dt="2023-11-16T11:51:43.618" v="5"/>
        <pc:sldMkLst>
          <pc:docMk/>
          <pc:sldMk cId="2214565963" sldId="325"/>
        </pc:sldMkLst>
      </pc:sldChg>
      <pc:sldChg chg="addSp delSp modSp mod">
        <pc:chgData name="Tobias Brammer" userId="80a1e1bd-3b82-47a5-b259-da62a397db92" providerId="ADAL" clId="{4309C268-4C5E-44FD-9D52-D042135427E2}" dt="2023-11-16T13:26:42.275" v="1953" actId="1076"/>
        <pc:sldMkLst>
          <pc:docMk/>
          <pc:sldMk cId="762254632" sldId="327"/>
        </pc:sldMkLst>
        <pc:spChg chg="add del mod">
          <ac:chgData name="Tobias Brammer" userId="80a1e1bd-3b82-47a5-b259-da62a397db92" providerId="ADAL" clId="{4309C268-4C5E-44FD-9D52-D042135427E2}" dt="2023-11-16T13:26:09.485" v="1947" actId="14100"/>
          <ac:spMkLst>
            <pc:docMk/>
            <pc:sldMk cId="762254632" sldId="327"/>
            <ac:spMk id="5" creationId="{0256447C-D35F-4F86-D90B-E90F6B46AE7F}"/>
          </ac:spMkLst>
        </pc:spChg>
        <pc:picChg chg="add del mod">
          <ac:chgData name="Tobias Brammer" userId="80a1e1bd-3b82-47a5-b259-da62a397db92" providerId="ADAL" clId="{4309C268-4C5E-44FD-9D52-D042135427E2}" dt="2023-11-16T12:26:35.460" v="1601" actId="478"/>
          <ac:picMkLst>
            <pc:docMk/>
            <pc:sldMk cId="762254632" sldId="327"/>
            <ac:picMk id="2" creationId="{51296B2E-EC6C-4E59-86B7-973B09FFDAEF}"/>
          </ac:picMkLst>
        </pc:picChg>
        <pc:picChg chg="add del mod">
          <ac:chgData name="Tobias Brammer" userId="80a1e1bd-3b82-47a5-b259-da62a397db92" providerId="ADAL" clId="{4309C268-4C5E-44FD-9D52-D042135427E2}" dt="2023-11-16T12:26:45.481" v="1631" actId="478"/>
          <ac:picMkLst>
            <pc:docMk/>
            <pc:sldMk cId="762254632" sldId="327"/>
            <ac:picMk id="3" creationId="{EE90B632-E290-DAE9-7698-28DAC3B02197}"/>
          </ac:picMkLst>
        </pc:picChg>
        <pc:picChg chg="del mod ord replST">
          <ac:chgData name="Tobias Brammer" userId="80a1e1bd-3b82-47a5-b259-da62a397db92" providerId="ADAL" clId="{4309C268-4C5E-44FD-9D52-D042135427E2}" dt="2023-11-16T12:27:10.508" v="1662" actId="478"/>
          <ac:picMkLst>
            <pc:docMk/>
            <pc:sldMk cId="762254632" sldId="327"/>
            <ac:picMk id="7" creationId="{49636D9D-9A8F-6FC9-4E6C-A9D1ED6D349F}"/>
          </ac:picMkLst>
        </pc:picChg>
        <pc:picChg chg="mod ord replST">
          <ac:chgData name="Tobias Brammer" userId="80a1e1bd-3b82-47a5-b259-da62a397db92" providerId="ADAL" clId="{4309C268-4C5E-44FD-9D52-D042135427E2}" dt="2023-11-16T13:26:15.137" v="1948" actId="1076"/>
          <ac:picMkLst>
            <pc:docMk/>
            <pc:sldMk cId="762254632" sldId="327"/>
            <ac:picMk id="9" creationId="{0F345685-9460-E07A-59BB-0DD576793740}"/>
          </ac:picMkLst>
        </pc:picChg>
        <pc:picChg chg="add mod">
          <ac:chgData name="Tobias Brammer" userId="80a1e1bd-3b82-47a5-b259-da62a397db92" providerId="ADAL" clId="{4309C268-4C5E-44FD-9D52-D042135427E2}" dt="2023-11-16T13:26:42.275" v="1953" actId="1076"/>
          <ac:picMkLst>
            <pc:docMk/>
            <pc:sldMk cId="762254632" sldId="327"/>
            <ac:picMk id="12" creationId="{47664333-D894-5056-83A2-6BDBEC61091C}"/>
          </ac:picMkLst>
        </pc:picChg>
      </pc:sldChg>
      <pc:sldChg chg="mod modTransition modShow">
        <pc:chgData name="Tobias Brammer" userId="80a1e1bd-3b82-47a5-b259-da62a397db92" providerId="ADAL" clId="{4309C268-4C5E-44FD-9D52-D042135427E2}" dt="2023-11-16T11:51:39.244" v="3"/>
        <pc:sldMkLst>
          <pc:docMk/>
          <pc:sldMk cId="3444026750" sldId="328"/>
        </pc:sldMkLst>
      </pc:sldChg>
      <pc:sldChg chg="addSp delSp modSp add mod">
        <pc:chgData name="Tobias Brammer" userId="80a1e1bd-3b82-47a5-b259-da62a397db92" providerId="ADAL" clId="{4309C268-4C5E-44FD-9D52-D042135427E2}" dt="2023-11-16T12:15:49.922" v="789" actId="5793"/>
        <pc:sldMkLst>
          <pc:docMk/>
          <pc:sldMk cId="1279689104" sldId="329"/>
        </pc:sldMkLst>
        <pc:spChg chg="add del mod">
          <ac:chgData name="Tobias Brammer" userId="80a1e1bd-3b82-47a5-b259-da62a397db92" providerId="ADAL" clId="{4309C268-4C5E-44FD-9D52-D042135427E2}" dt="2023-11-16T12:02:51.088" v="33"/>
          <ac:spMkLst>
            <pc:docMk/>
            <pc:sldMk cId="1279689104" sldId="329"/>
            <ac:spMk id="6" creationId="{C876B72B-C151-2C3A-E214-1A09C4A0808A}"/>
          </ac:spMkLst>
        </pc:spChg>
        <pc:spChg chg="del mod">
          <ac:chgData name="Tobias Brammer" userId="80a1e1bd-3b82-47a5-b259-da62a397db92" providerId="ADAL" clId="{4309C268-4C5E-44FD-9D52-D042135427E2}" dt="2023-11-16T12:03:14.682" v="47" actId="478"/>
          <ac:spMkLst>
            <pc:docMk/>
            <pc:sldMk cId="1279689104" sldId="329"/>
            <ac:spMk id="7" creationId="{DEC53627-8BE2-118B-148A-8A775CEDD3D3}"/>
          </ac:spMkLst>
        </pc:spChg>
        <pc:spChg chg="add mod">
          <ac:chgData name="Tobias Brammer" userId="80a1e1bd-3b82-47a5-b259-da62a397db92" providerId="ADAL" clId="{4309C268-4C5E-44FD-9D52-D042135427E2}" dt="2023-11-16T12:15:49.922" v="789" actId="5793"/>
          <ac:spMkLst>
            <pc:docMk/>
            <pc:sldMk cId="1279689104" sldId="329"/>
            <ac:spMk id="8" creationId="{9974A259-DC86-27AE-073B-E1B517848965}"/>
          </ac:spMkLst>
        </pc:spChg>
        <pc:spChg chg="add del mod">
          <ac:chgData name="Tobias Brammer" userId="80a1e1bd-3b82-47a5-b259-da62a397db92" providerId="ADAL" clId="{4309C268-4C5E-44FD-9D52-D042135427E2}" dt="2023-11-16T12:03:16.454" v="48" actId="478"/>
          <ac:spMkLst>
            <pc:docMk/>
            <pc:sldMk cId="1279689104" sldId="329"/>
            <ac:spMk id="10" creationId="{27F7E60B-2D50-5969-849C-82C93CE3E2C5}"/>
          </ac:spMkLst>
        </pc:spChg>
        <pc:grpChg chg="del mod">
          <ac:chgData name="Tobias Brammer" userId="80a1e1bd-3b82-47a5-b259-da62a397db92" providerId="ADAL" clId="{4309C268-4C5E-44FD-9D52-D042135427E2}" dt="2023-11-16T11:56:39.977" v="19" actId="478"/>
          <ac:grpSpMkLst>
            <pc:docMk/>
            <pc:sldMk cId="1279689104" sldId="329"/>
            <ac:grpSpMk id="573" creationId="{818986B4-A717-237D-7A54-E7CB27EE1917}"/>
          </ac:grpSpMkLst>
        </pc:grpChg>
        <pc:picChg chg="add del mod">
          <ac:chgData name="Tobias Brammer" userId="80a1e1bd-3b82-47a5-b259-da62a397db92" providerId="ADAL" clId="{4309C268-4C5E-44FD-9D52-D042135427E2}" dt="2023-11-16T12:02:54.967" v="34" actId="478"/>
          <ac:picMkLst>
            <pc:docMk/>
            <pc:sldMk cId="1279689104" sldId="329"/>
            <ac:picMk id="5" creationId="{A8B6549A-1A69-93CB-91FD-0D656DD5EBD5}"/>
          </ac:picMkLst>
        </pc:picChg>
        <pc:picChg chg="mod">
          <ac:chgData name="Tobias Brammer" userId="80a1e1bd-3b82-47a5-b259-da62a397db92" providerId="ADAL" clId="{4309C268-4C5E-44FD-9D52-D042135427E2}" dt="2023-11-16T11:56:33.792" v="16" actId="14100"/>
          <ac:picMkLst>
            <pc:docMk/>
            <pc:sldMk cId="1279689104" sldId="329"/>
            <ac:picMk id="5" creationId="{AF7C8EFE-C3AE-4071-CD8B-66B4BDC92595}"/>
          </ac:picMkLst>
        </pc:picChg>
        <pc:picChg chg="add mod">
          <ac:chgData name="Tobias Brammer" userId="80a1e1bd-3b82-47a5-b259-da62a397db92" providerId="ADAL" clId="{4309C268-4C5E-44FD-9D52-D042135427E2}" dt="2023-11-16T12:04:41.661" v="98" actId="1076"/>
          <ac:picMkLst>
            <pc:docMk/>
            <pc:sldMk cId="1279689104" sldId="329"/>
            <ac:picMk id="12" creationId="{BC45735F-E063-4678-D02A-CBB56F461006}"/>
          </ac:picMkLst>
        </pc:picChg>
      </pc:sldChg>
      <pc:sldChg chg="add del">
        <pc:chgData name="Tobias Brammer" userId="80a1e1bd-3b82-47a5-b259-da62a397db92" providerId="ADAL" clId="{4309C268-4C5E-44FD-9D52-D042135427E2}" dt="2023-11-16T12:04:58.348" v="101" actId="47"/>
        <pc:sldMkLst>
          <pc:docMk/>
          <pc:sldMk cId="795149680" sldId="330"/>
        </pc:sldMkLst>
      </pc:sldChg>
      <pc:sldChg chg="modSp add mod ord">
        <pc:chgData name="Tobias Brammer" userId="80a1e1bd-3b82-47a5-b259-da62a397db92" providerId="ADAL" clId="{4309C268-4C5E-44FD-9D52-D042135427E2}" dt="2023-11-16T12:08:14.335" v="415"/>
        <pc:sldMkLst>
          <pc:docMk/>
          <pc:sldMk cId="3816713439" sldId="330"/>
        </pc:sldMkLst>
        <pc:spChg chg="mod">
          <ac:chgData name="Tobias Brammer" userId="80a1e1bd-3b82-47a5-b259-da62a397db92" providerId="ADAL" clId="{4309C268-4C5E-44FD-9D52-D042135427E2}" dt="2023-11-16T12:08:06.160" v="413" actId="20577"/>
          <ac:spMkLst>
            <pc:docMk/>
            <pc:sldMk cId="3816713439" sldId="330"/>
            <ac:spMk id="8" creationId="{9974A259-DC86-27AE-073B-E1B517848965}"/>
          </ac:spMkLst>
        </pc:spChg>
        <pc:picChg chg="mod">
          <ac:chgData name="Tobias Brammer" userId="80a1e1bd-3b82-47a5-b259-da62a397db92" providerId="ADAL" clId="{4309C268-4C5E-44FD-9D52-D042135427E2}" dt="2023-11-16T12:05:12.612" v="103" actId="14826"/>
          <ac:picMkLst>
            <pc:docMk/>
            <pc:sldMk cId="3816713439" sldId="330"/>
            <ac:picMk id="12" creationId="{BC45735F-E063-4678-D02A-CBB56F461006}"/>
          </ac:picMkLst>
        </pc:picChg>
      </pc:sldChg>
      <pc:sldChg chg="modSp add mod">
        <pc:chgData name="Tobias Brammer" userId="80a1e1bd-3b82-47a5-b259-da62a397db92" providerId="ADAL" clId="{4309C268-4C5E-44FD-9D52-D042135427E2}" dt="2023-11-16T12:09:49.787" v="599" actId="20577"/>
        <pc:sldMkLst>
          <pc:docMk/>
          <pc:sldMk cId="2198107308" sldId="331"/>
        </pc:sldMkLst>
        <pc:spChg chg="mod">
          <ac:chgData name="Tobias Brammer" userId="80a1e1bd-3b82-47a5-b259-da62a397db92" providerId="ADAL" clId="{4309C268-4C5E-44FD-9D52-D042135427E2}" dt="2023-11-16T12:09:49.787" v="599" actId="20577"/>
          <ac:spMkLst>
            <pc:docMk/>
            <pc:sldMk cId="2198107308" sldId="331"/>
            <ac:spMk id="8" creationId="{9974A259-DC86-27AE-073B-E1B517848965}"/>
          </ac:spMkLst>
        </pc:spChg>
        <pc:picChg chg="mod">
          <ac:chgData name="Tobias Brammer" userId="80a1e1bd-3b82-47a5-b259-da62a397db92" providerId="ADAL" clId="{4309C268-4C5E-44FD-9D52-D042135427E2}" dt="2023-11-16T12:08:33.951" v="418" actId="14826"/>
          <ac:picMkLst>
            <pc:docMk/>
            <pc:sldMk cId="2198107308" sldId="331"/>
            <ac:picMk id="12" creationId="{BC45735F-E063-4678-D02A-CBB56F461006}"/>
          </ac:picMkLst>
        </pc:picChg>
      </pc:sldChg>
      <pc:sldChg chg="modSp add mod">
        <pc:chgData name="Tobias Brammer" userId="80a1e1bd-3b82-47a5-b259-da62a397db92" providerId="ADAL" clId="{4309C268-4C5E-44FD-9D52-D042135427E2}" dt="2023-11-16T12:14:58.155" v="745" actId="20577"/>
        <pc:sldMkLst>
          <pc:docMk/>
          <pc:sldMk cId="1431617520" sldId="332"/>
        </pc:sldMkLst>
        <pc:spChg chg="mod">
          <ac:chgData name="Tobias Brammer" userId="80a1e1bd-3b82-47a5-b259-da62a397db92" providerId="ADAL" clId="{4309C268-4C5E-44FD-9D52-D042135427E2}" dt="2023-11-16T12:14:58.155" v="745" actId="20577"/>
          <ac:spMkLst>
            <pc:docMk/>
            <pc:sldMk cId="1431617520" sldId="332"/>
            <ac:spMk id="8" creationId="{9974A259-DC86-27AE-073B-E1B517848965}"/>
          </ac:spMkLst>
        </pc:spChg>
        <pc:picChg chg="mod">
          <ac:chgData name="Tobias Brammer" userId="80a1e1bd-3b82-47a5-b259-da62a397db92" providerId="ADAL" clId="{4309C268-4C5E-44FD-9D52-D042135427E2}" dt="2023-11-16T12:10:12.139" v="618" actId="14826"/>
          <ac:picMkLst>
            <pc:docMk/>
            <pc:sldMk cId="1431617520" sldId="332"/>
            <ac:picMk id="12" creationId="{BC45735F-E063-4678-D02A-CBB56F461006}"/>
          </ac:picMkLst>
        </pc:picChg>
      </pc:sldChg>
      <pc:sldChg chg="modSp add mod">
        <pc:chgData name="Tobias Brammer" userId="80a1e1bd-3b82-47a5-b259-da62a397db92" providerId="ADAL" clId="{4309C268-4C5E-44FD-9D52-D042135427E2}" dt="2023-11-16T12:12:06.078" v="744" actId="20577"/>
        <pc:sldMkLst>
          <pc:docMk/>
          <pc:sldMk cId="160220345" sldId="333"/>
        </pc:sldMkLst>
        <pc:spChg chg="mod">
          <ac:chgData name="Tobias Brammer" userId="80a1e1bd-3b82-47a5-b259-da62a397db92" providerId="ADAL" clId="{4309C268-4C5E-44FD-9D52-D042135427E2}" dt="2023-11-16T12:12:06.078" v="744" actId="20577"/>
          <ac:spMkLst>
            <pc:docMk/>
            <pc:sldMk cId="160220345" sldId="333"/>
            <ac:spMk id="8" creationId="{9974A259-DC86-27AE-073B-E1B517848965}"/>
          </ac:spMkLst>
        </pc:spChg>
        <pc:picChg chg="mod">
          <ac:chgData name="Tobias Brammer" userId="80a1e1bd-3b82-47a5-b259-da62a397db92" providerId="ADAL" clId="{4309C268-4C5E-44FD-9D52-D042135427E2}" dt="2023-11-16T12:11:46.099" v="726" actId="14826"/>
          <ac:picMkLst>
            <pc:docMk/>
            <pc:sldMk cId="160220345" sldId="333"/>
            <ac:picMk id="12" creationId="{BC45735F-E063-4678-D02A-CBB56F461006}"/>
          </ac:picMkLst>
        </pc:picChg>
      </pc:sldChg>
      <pc:sldChg chg="modSp add del mod">
        <pc:chgData name="Tobias Brammer" userId="80a1e1bd-3b82-47a5-b259-da62a397db92" providerId="ADAL" clId="{4309C268-4C5E-44FD-9D52-D042135427E2}" dt="2023-11-16T12:22:48.495" v="1390" actId="47"/>
        <pc:sldMkLst>
          <pc:docMk/>
          <pc:sldMk cId="2884824692" sldId="334"/>
        </pc:sldMkLst>
        <pc:spChg chg="mod">
          <ac:chgData name="Tobias Brammer" userId="80a1e1bd-3b82-47a5-b259-da62a397db92" providerId="ADAL" clId="{4309C268-4C5E-44FD-9D52-D042135427E2}" dt="2023-11-16T12:16:52.421" v="799" actId="948"/>
          <ac:spMkLst>
            <pc:docMk/>
            <pc:sldMk cId="2884824692" sldId="334"/>
            <ac:spMk id="2" creationId="{F7A7B11F-5560-4450-B29C-AA36EE47DBD5}"/>
          </ac:spMkLst>
        </pc:spChg>
        <pc:spChg chg="mod">
          <ac:chgData name="Tobias Brammer" userId="80a1e1bd-3b82-47a5-b259-da62a397db92" providerId="ADAL" clId="{4309C268-4C5E-44FD-9D52-D042135427E2}" dt="2023-11-16T12:22:07.625" v="1370" actId="20577"/>
          <ac:spMkLst>
            <pc:docMk/>
            <pc:sldMk cId="2884824692" sldId="334"/>
            <ac:spMk id="8" creationId="{9974A259-DC86-27AE-073B-E1B517848965}"/>
          </ac:spMkLst>
        </pc:spChg>
        <pc:graphicFrameChg chg="mod">
          <ac:chgData name="Tobias Brammer" userId="80a1e1bd-3b82-47a5-b259-da62a397db92" providerId="ADAL" clId="{4309C268-4C5E-44FD-9D52-D042135427E2}" dt="2023-11-16T12:16:52.432" v="803"/>
          <ac:graphicFrameMkLst>
            <pc:docMk/>
            <pc:sldMk cId="2884824692" sldId="334"/>
            <ac:graphicFrameMk id="4" creationId="{79C05AFC-9555-D40C-AD9D-3E13BD0A4FC2}"/>
          </ac:graphicFrameMkLst>
        </pc:graphicFrameChg>
        <pc:picChg chg="mod">
          <ac:chgData name="Tobias Brammer" userId="80a1e1bd-3b82-47a5-b259-da62a397db92" providerId="ADAL" clId="{4309C268-4C5E-44FD-9D52-D042135427E2}" dt="2023-11-16T12:17:24.341" v="880" actId="14826"/>
          <ac:picMkLst>
            <pc:docMk/>
            <pc:sldMk cId="2884824692" sldId="334"/>
            <ac:picMk id="12" creationId="{BC45735F-E063-4678-D02A-CBB56F461006}"/>
          </ac:picMkLst>
        </pc:picChg>
      </pc:sldChg>
      <pc:sldChg chg="modSp add mod">
        <pc:chgData name="Tobias Brammer" userId="80a1e1bd-3b82-47a5-b259-da62a397db92" providerId="ADAL" clId="{4309C268-4C5E-44FD-9D52-D042135427E2}" dt="2023-11-16T12:22:33.820" v="1389" actId="20577"/>
        <pc:sldMkLst>
          <pc:docMk/>
          <pc:sldMk cId="2191927288" sldId="335"/>
        </pc:sldMkLst>
        <pc:spChg chg="mod">
          <ac:chgData name="Tobias Brammer" userId="80a1e1bd-3b82-47a5-b259-da62a397db92" providerId="ADAL" clId="{4309C268-4C5E-44FD-9D52-D042135427E2}" dt="2023-11-16T12:22:33.820" v="1389" actId="20577"/>
          <ac:spMkLst>
            <pc:docMk/>
            <pc:sldMk cId="2191927288" sldId="335"/>
            <ac:spMk id="8" creationId="{9974A259-DC86-27AE-073B-E1B517848965}"/>
          </ac:spMkLst>
        </pc:spChg>
      </pc:sldChg>
      <pc:sldChg chg="delSp modSp add del mod ord">
        <pc:chgData name="Tobias Brammer" userId="80a1e1bd-3b82-47a5-b259-da62a397db92" providerId="ADAL" clId="{4309C268-4C5E-44FD-9D52-D042135427E2}" dt="2023-11-16T13:27:02.165" v="1955" actId="47"/>
        <pc:sldMkLst>
          <pc:docMk/>
          <pc:sldMk cId="1467067792" sldId="336"/>
        </pc:sldMkLst>
        <pc:spChg chg="mod">
          <ac:chgData name="Tobias Brammer" userId="80a1e1bd-3b82-47a5-b259-da62a397db92" providerId="ADAL" clId="{4309C268-4C5E-44FD-9D52-D042135427E2}" dt="2023-11-16T12:23:51.028" v="1425" actId="948"/>
          <ac:spMkLst>
            <pc:docMk/>
            <pc:sldMk cId="1467067792" sldId="336"/>
            <ac:spMk id="2" creationId="{F7A7B11F-5560-4450-B29C-AA36EE47DBD5}"/>
          </ac:spMkLst>
        </pc:spChg>
        <pc:spChg chg="mod">
          <ac:chgData name="Tobias Brammer" userId="80a1e1bd-3b82-47a5-b259-da62a397db92" providerId="ADAL" clId="{4309C268-4C5E-44FD-9D52-D042135427E2}" dt="2023-11-16T12:25:31.912" v="1567" actId="20577"/>
          <ac:spMkLst>
            <pc:docMk/>
            <pc:sldMk cId="1467067792" sldId="336"/>
            <ac:spMk id="8" creationId="{9974A259-DC86-27AE-073B-E1B517848965}"/>
          </ac:spMkLst>
        </pc:spChg>
        <pc:graphicFrameChg chg="mod">
          <ac:chgData name="Tobias Brammer" userId="80a1e1bd-3b82-47a5-b259-da62a397db92" providerId="ADAL" clId="{4309C268-4C5E-44FD-9D52-D042135427E2}" dt="2023-11-16T12:23:51.038" v="1429"/>
          <ac:graphicFrameMkLst>
            <pc:docMk/>
            <pc:sldMk cId="1467067792" sldId="336"/>
            <ac:graphicFrameMk id="4" creationId="{79C05AFC-9555-D40C-AD9D-3E13BD0A4FC2}"/>
          </ac:graphicFrameMkLst>
        </pc:graphicFrameChg>
        <pc:picChg chg="del mod replST">
          <ac:chgData name="Tobias Brammer" userId="80a1e1bd-3b82-47a5-b259-da62a397db92" providerId="ADAL" clId="{4309C268-4C5E-44FD-9D52-D042135427E2}" dt="2023-11-16T12:26:19.349" v="1594" actId="21"/>
          <ac:picMkLst>
            <pc:docMk/>
            <pc:sldMk cId="1467067792" sldId="336"/>
            <ac:picMk id="5" creationId="{84D7B3FD-E68C-D976-B120-BBFBAA8FD31D}"/>
          </ac:picMkLst>
        </pc:picChg>
        <pc:picChg chg="del mod">
          <ac:chgData name="Tobias Brammer" userId="80a1e1bd-3b82-47a5-b259-da62a397db92" providerId="ADAL" clId="{4309C268-4C5E-44FD-9D52-D042135427E2}" dt="2023-11-16T13:26:53.898" v="1954" actId="478"/>
          <ac:picMkLst>
            <pc:docMk/>
            <pc:sldMk cId="1467067792" sldId="336"/>
            <ac:picMk id="12" creationId="{BC45735F-E063-4678-D02A-CBB56F461006}"/>
          </ac:picMkLst>
        </pc:picChg>
      </pc:sld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008C3F84-4C29-4233-992B-2D26DEA7756B}"/>
    <pc:docChg chg="undo custSel addSld delSld modSld sldOrd replTag">
      <pc:chgData name="Tobias Brammer" userId="80a1e1bd-3b82-47a5-b259-da62a397db92" providerId="ADAL" clId="{008C3F84-4C29-4233-992B-2D26DEA7756B}" dt="2023-11-21T09:13:25.937" v="18024" actId="20577"/>
      <pc:docMkLst>
        <pc:docMk/>
      </pc:docMkLst>
      <pc:sldChg chg="modSp mod">
        <pc:chgData name="Tobias Brammer" userId="80a1e1bd-3b82-47a5-b259-da62a397db92" providerId="ADAL" clId="{008C3F84-4C29-4233-992B-2D26DEA7756B}" dt="2023-11-21T08:04:33.279" v="3261" actId="404"/>
        <pc:sldMkLst>
          <pc:docMk/>
          <pc:sldMk cId="2492524537" sldId="309"/>
        </pc:sldMkLst>
        <pc:spChg chg="mod">
          <ac:chgData name="Tobias Brammer" userId="80a1e1bd-3b82-47a5-b259-da62a397db92" providerId="ADAL" clId="{008C3F84-4C29-4233-992B-2D26DEA7756B}" dt="2023-11-21T08:04:33.279" v="3261" actId="404"/>
          <ac:spMkLst>
            <pc:docMk/>
            <pc:sldMk cId="2492524537" sldId="309"/>
            <ac:spMk id="10" creationId="{6123F9E9-4EDA-8639-0B90-4D3A855C3D7A}"/>
          </ac:spMkLst>
        </pc:spChg>
      </pc:sldChg>
      <pc:sldChg chg="addSp delSp modSp mod">
        <pc:chgData name="Tobias Brammer" userId="80a1e1bd-3b82-47a5-b259-da62a397db92" providerId="ADAL" clId="{008C3F84-4C29-4233-992B-2D26DEA7756B}" dt="2023-11-21T08:19:10.587" v="3545" actId="1035"/>
        <pc:sldMkLst>
          <pc:docMk/>
          <pc:sldMk cId="637503088" sldId="313"/>
        </pc:sldMkLst>
        <pc:spChg chg="add del mod">
          <ac:chgData name="Tobias Brammer" userId="80a1e1bd-3b82-47a5-b259-da62a397db92" providerId="ADAL" clId="{008C3F84-4C29-4233-992B-2D26DEA7756B}" dt="2023-11-21T08:19:01.389" v="3534" actId="478"/>
          <ac:spMkLst>
            <pc:docMk/>
            <pc:sldMk cId="637503088" sldId="313"/>
            <ac:spMk id="2" creationId="{717554C1-514B-8B9B-39B3-21E736E30CC6}"/>
          </ac:spMkLst>
        </pc:spChg>
        <pc:spChg chg="add del mod">
          <ac:chgData name="Tobias Brammer" userId="80a1e1bd-3b82-47a5-b259-da62a397db92" providerId="ADAL" clId="{008C3F84-4C29-4233-992B-2D26DEA7756B}" dt="2023-11-21T08:19:04.657" v="3540" actId="478"/>
          <ac:spMkLst>
            <pc:docMk/>
            <pc:sldMk cId="637503088" sldId="313"/>
            <ac:spMk id="5" creationId="{C0D2EB10-6A46-93E9-084C-667B72F3D44F}"/>
          </ac:spMkLst>
        </pc:spChg>
        <pc:spChg chg="add mod">
          <ac:chgData name="Tobias Brammer" userId="80a1e1bd-3b82-47a5-b259-da62a397db92" providerId="ADAL" clId="{008C3F84-4C29-4233-992B-2D26DEA7756B}" dt="2023-11-21T08:19:10.587" v="3545" actId="1035"/>
          <ac:spMkLst>
            <pc:docMk/>
            <pc:sldMk cId="637503088" sldId="313"/>
            <ac:spMk id="6" creationId="{A84F8E7E-72E1-5233-0246-C698E7D7D176}"/>
          </ac:spMkLst>
        </pc:spChg>
        <pc:spChg chg="del">
          <ac:chgData name="Tobias Brammer" userId="80a1e1bd-3b82-47a5-b259-da62a397db92" providerId="ADAL" clId="{008C3F84-4C29-4233-992B-2D26DEA7756B}" dt="2023-11-21T08:18:28.143" v="3504" actId="478"/>
          <ac:spMkLst>
            <pc:docMk/>
            <pc:sldMk cId="637503088" sldId="313"/>
            <ac:spMk id="15" creationId="{9C6F2DC5-280B-B242-0715-F5482580179E}"/>
          </ac:spMkLst>
        </pc:spChg>
        <pc:spChg chg="mod">
          <ac:chgData name="Tobias Brammer" userId="80a1e1bd-3b82-47a5-b259-da62a397db92" providerId="ADAL" clId="{008C3F84-4C29-4233-992B-2D26DEA7756B}" dt="2023-11-21T08:17:20.201" v="3498"/>
          <ac:spMkLst>
            <pc:docMk/>
            <pc:sldMk cId="637503088" sldId="313"/>
            <ac:spMk id="23" creationId="{A2CF2E1D-7AB4-1494-0202-03BB4783B61A}"/>
          </ac:spMkLst>
        </pc:spChg>
        <pc:spChg chg="mod">
          <ac:chgData name="Tobias Brammer" userId="80a1e1bd-3b82-47a5-b259-da62a397db92" providerId="ADAL" clId="{008C3F84-4C29-4233-992B-2D26DEA7756B}" dt="2023-11-21T08:17:45.497" v="3501"/>
          <ac:spMkLst>
            <pc:docMk/>
            <pc:sldMk cId="637503088" sldId="313"/>
            <ac:spMk id="24" creationId="{B7CB5A19-F73E-89F5-3B99-742957B1CF2B}"/>
          </ac:spMkLst>
        </pc:spChg>
        <pc:spChg chg="mod">
          <ac:chgData name="Tobias Brammer" userId="80a1e1bd-3b82-47a5-b259-da62a397db92" providerId="ADAL" clId="{008C3F84-4C29-4233-992B-2D26DEA7756B}" dt="2023-11-21T08:15:08.048" v="3463"/>
          <ac:spMkLst>
            <pc:docMk/>
            <pc:sldMk cId="637503088" sldId="313"/>
            <ac:spMk id="28" creationId="{98D9ED06-1B29-6257-5CA9-5B684C58A0A5}"/>
          </ac:spMkLst>
        </pc:spChg>
        <pc:grpChg chg="mod">
          <ac:chgData name="Tobias Brammer" userId="80a1e1bd-3b82-47a5-b259-da62a397db92" providerId="ADAL" clId="{008C3F84-4C29-4233-992B-2D26DEA7756B}" dt="2023-11-21T08:18:43.931" v="3533" actId="1035"/>
          <ac:grpSpMkLst>
            <pc:docMk/>
            <pc:sldMk cId="637503088" sldId="313"/>
            <ac:grpSpMk id="25" creationId="{A2C2722A-AD85-3EE8-5CAB-992F35AC1BCE}"/>
          </ac:grpSpMkLst>
        </pc:grpChg>
        <pc:grpChg chg="mod">
          <ac:chgData name="Tobias Brammer" userId="80a1e1bd-3b82-47a5-b259-da62a397db92" providerId="ADAL" clId="{008C3F84-4C29-4233-992B-2D26DEA7756B}" dt="2023-11-21T08:18:43.931" v="3533" actId="1035"/>
          <ac:grpSpMkLst>
            <pc:docMk/>
            <pc:sldMk cId="637503088" sldId="313"/>
            <ac:grpSpMk id="26" creationId="{BBAB5653-01E6-4085-DCDC-F243ACBDB042}"/>
          </ac:grpSpMkLst>
        </pc:grpChg>
        <pc:grpChg chg="mod">
          <ac:chgData name="Tobias Brammer" userId="80a1e1bd-3b82-47a5-b259-da62a397db92" providerId="ADAL" clId="{008C3F84-4C29-4233-992B-2D26DEA7756B}" dt="2023-11-21T08:18:43.931" v="3533" actId="1035"/>
          <ac:grpSpMkLst>
            <pc:docMk/>
            <pc:sldMk cId="637503088" sldId="313"/>
            <ac:grpSpMk id="31" creationId="{F20FA6EF-6A98-C6F0-3793-BC9C516343D7}"/>
          </ac:grpSpMkLst>
        </pc:grpChg>
        <pc:grpChg chg="mod">
          <ac:chgData name="Tobias Brammer" userId="80a1e1bd-3b82-47a5-b259-da62a397db92" providerId="ADAL" clId="{008C3F84-4C29-4233-992B-2D26DEA7756B}" dt="2023-11-21T08:18:43.931" v="3533" actId="1035"/>
          <ac:grpSpMkLst>
            <pc:docMk/>
            <pc:sldMk cId="637503088" sldId="313"/>
            <ac:grpSpMk id="32" creationId="{B875996F-D7A7-7CE3-9681-69F3418BF28D}"/>
          </ac:grpSpMkLst>
        </pc:grpChg>
        <pc:graphicFrameChg chg="mod">
          <ac:chgData name="Tobias Brammer" userId="80a1e1bd-3b82-47a5-b259-da62a397db92" providerId="ADAL" clId="{008C3F84-4C29-4233-992B-2D26DEA7756B}" dt="2023-11-21T08:19:05.159" v="3544"/>
          <ac:graphicFrameMkLst>
            <pc:docMk/>
            <pc:sldMk cId="637503088" sldId="313"/>
            <ac:graphicFrameMk id="4" creationId="{DA4F5744-822E-272D-9EB9-E4CFFB864E67}"/>
          </ac:graphicFrameMkLst>
        </pc:graphicFrameChg>
      </pc:sldChg>
      <pc:sldChg chg="addSp delSp modSp mod modTransition modShow">
        <pc:chgData name="Tobias Brammer" userId="80a1e1bd-3b82-47a5-b259-da62a397db92" providerId="ADAL" clId="{008C3F84-4C29-4233-992B-2D26DEA7756B}" dt="2023-11-21T08:20:02.546" v="3567"/>
        <pc:sldMkLst>
          <pc:docMk/>
          <pc:sldMk cId="1357849748" sldId="320"/>
        </pc:sldMkLst>
        <pc:spChg chg="mod">
          <ac:chgData name="Tobias Brammer" userId="80a1e1bd-3b82-47a5-b259-da62a397db92" providerId="ADAL" clId="{008C3F84-4C29-4233-992B-2D26DEA7756B}" dt="2023-11-21T08:20:02.541" v="3563" actId="948"/>
          <ac:spMkLst>
            <pc:docMk/>
            <pc:sldMk cId="1357849748" sldId="320"/>
            <ac:spMk id="10" creationId="{AF9B0DCC-E14E-05AE-4D33-CE315A7426D6}"/>
          </ac:spMkLst>
        </pc:spChg>
        <pc:graphicFrameChg chg="mod">
          <ac:chgData name="Tobias Brammer" userId="80a1e1bd-3b82-47a5-b259-da62a397db92" providerId="ADAL" clId="{008C3F84-4C29-4233-992B-2D26DEA7756B}" dt="2023-11-21T08:20:02.546" v="3567"/>
          <ac:graphicFrameMkLst>
            <pc:docMk/>
            <pc:sldMk cId="1357849748" sldId="320"/>
            <ac:graphicFrameMk id="4" creationId="{79C05AFC-9555-D40C-AD9D-3E13BD0A4FC2}"/>
          </ac:graphicFrameMkLst>
        </pc:graphicFrameChg>
        <pc:picChg chg="add del mod replST">
          <ac:chgData name="Tobias Brammer" userId="80a1e1bd-3b82-47a5-b259-da62a397db92" providerId="ADAL" clId="{008C3F84-4C29-4233-992B-2D26DEA7756B}" dt="2023-11-21T07:38:35.711" v="1027" actId="478"/>
          <ac:picMkLst>
            <pc:docMk/>
            <pc:sldMk cId="1357849748" sldId="320"/>
            <ac:picMk id="3" creationId="{0692F01C-92C2-C4BA-C148-06D37117F892}"/>
          </ac:picMkLst>
        </pc:picChg>
        <pc:picChg chg="del mod ord replST">
          <ac:chgData name="Tobias Brammer" userId="80a1e1bd-3b82-47a5-b259-da62a397db92" providerId="ADAL" clId="{008C3F84-4C29-4233-992B-2D26DEA7756B}" dt="2023-11-21T07:38:52.099" v="1058" actId="478"/>
          <ac:picMkLst>
            <pc:docMk/>
            <pc:sldMk cId="1357849748" sldId="320"/>
            <ac:picMk id="7" creationId="{80C1B9F6-CECC-369B-BB02-339DC8AB677C}"/>
          </ac:picMkLst>
        </pc:picChg>
        <pc:picChg chg="del mod ord replST">
          <ac:chgData name="Tobias Brammer" userId="80a1e1bd-3b82-47a5-b259-da62a397db92" providerId="ADAL" clId="{008C3F84-4C29-4233-992B-2D26DEA7756B}" dt="2023-11-21T07:44:34.384" v="1096" actId="478"/>
          <ac:picMkLst>
            <pc:docMk/>
            <pc:sldMk cId="1357849748" sldId="320"/>
            <ac:picMk id="9" creationId="{F62F52CA-FC3F-DFC6-9DE1-A7AE33A70760}"/>
          </ac:picMkLst>
        </pc:picChg>
      </pc:sldChg>
      <pc:sldChg chg="del">
        <pc:chgData name="Tobias Brammer" userId="80a1e1bd-3b82-47a5-b259-da62a397db92" providerId="ADAL" clId="{008C3F84-4C29-4233-992B-2D26DEA7756B}" dt="2023-11-21T07:59:55.467" v="2884" actId="47"/>
        <pc:sldMkLst>
          <pc:docMk/>
          <pc:sldMk cId="1578015824" sldId="321"/>
        </pc:sldMkLst>
      </pc:sldChg>
      <pc:sldChg chg="modSp mod modTransition modShow">
        <pc:chgData name="Tobias Brammer" userId="80a1e1bd-3b82-47a5-b259-da62a397db92" providerId="ADAL" clId="{008C3F84-4C29-4233-992B-2D26DEA7756B}" dt="2023-11-21T08:19:58.035" v="3554"/>
        <pc:sldMkLst>
          <pc:docMk/>
          <pc:sldMk cId="2844577089" sldId="323"/>
        </pc:sldMkLst>
        <pc:spChg chg="mod">
          <ac:chgData name="Tobias Brammer" userId="80a1e1bd-3b82-47a5-b259-da62a397db92" providerId="ADAL" clId="{008C3F84-4C29-4233-992B-2D26DEA7756B}" dt="2023-11-21T08:19:58.030" v="3550" actId="948"/>
          <ac:spMkLst>
            <pc:docMk/>
            <pc:sldMk cId="2844577089" sldId="323"/>
            <ac:spMk id="10" creationId="{AF9B0DCC-E14E-05AE-4D33-CE315A7426D6}"/>
          </ac:spMkLst>
        </pc:spChg>
        <pc:graphicFrameChg chg="mod">
          <ac:chgData name="Tobias Brammer" userId="80a1e1bd-3b82-47a5-b259-da62a397db92" providerId="ADAL" clId="{008C3F84-4C29-4233-992B-2D26DEA7756B}" dt="2023-11-21T08:19:58.035" v="3554"/>
          <ac:graphicFrameMkLst>
            <pc:docMk/>
            <pc:sldMk cId="2844577089" sldId="323"/>
            <ac:graphicFrameMk id="4" creationId="{79C05AFC-9555-D40C-AD9D-3E13BD0A4FC2}"/>
          </ac:graphicFrameMkLst>
        </pc:graphicFrameChg>
      </pc:sldChg>
      <pc:sldChg chg="modSp mod">
        <pc:chgData name="Tobias Brammer" userId="80a1e1bd-3b82-47a5-b259-da62a397db92" providerId="ADAL" clId="{008C3F84-4C29-4233-992B-2D26DEA7756B}" dt="2023-11-21T08:04:43.895" v="3265" actId="404"/>
        <pc:sldMkLst>
          <pc:docMk/>
          <pc:sldMk cId="3780667075" sldId="324"/>
        </pc:sldMkLst>
        <pc:spChg chg="mod">
          <ac:chgData name="Tobias Brammer" userId="80a1e1bd-3b82-47a5-b259-da62a397db92" providerId="ADAL" clId="{008C3F84-4C29-4233-992B-2D26DEA7756B}" dt="2023-11-21T08:04:43.895" v="3265" actId="404"/>
          <ac:spMkLst>
            <pc:docMk/>
            <pc:sldMk cId="3780667075" sldId="324"/>
            <ac:spMk id="10" creationId="{6123F9E9-4EDA-8639-0B90-4D3A855C3D7A}"/>
          </ac:spMkLst>
        </pc:spChg>
      </pc:sldChg>
      <pc:sldChg chg="modNotesTx">
        <pc:chgData name="Tobias Brammer" userId="80a1e1bd-3b82-47a5-b259-da62a397db92" providerId="ADAL" clId="{008C3F84-4C29-4233-992B-2D26DEA7756B}" dt="2023-11-21T06:48:18.979" v="13" actId="20577"/>
        <pc:sldMkLst>
          <pc:docMk/>
          <pc:sldMk cId="2214565963" sldId="325"/>
        </pc:sldMkLst>
      </pc:sldChg>
      <pc:sldChg chg="mod modTransition modShow">
        <pc:chgData name="Tobias Brammer" userId="80a1e1bd-3b82-47a5-b259-da62a397db92" providerId="ADAL" clId="{008C3F84-4C29-4233-992B-2D26DEA7756B}" dt="2023-11-21T09:11:36.876" v="18022"/>
        <pc:sldMkLst>
          <pc:docMk/>
          <pc:sldMk cId="3972108527" sldId="326"/>
        </pc:sldMkLst>
      </pc:sldChg>
      <pc:sldChg chg="modSp del mod modNotesTx">
        <pc:chgData name="Tobias Brammer" userId="80a1e1bd-3b82-47a5-b259-da62a397db92" providerId="ADAL" clId="{008C3F84-4C29-4233-992B-2D26DEA7756B}" dt="2023-11-21T07:48:09.751" v="1602" actId="47"/>
        <pc:sldMkLst>
          <pc:docMk/>
          <pc:sldMk cId="762254632" sldId="327"/>
        </pc:sldMkLst>
        <pc:spChg chg="mod">
          <ac:chgData name="Tobias Brammer" userId="80a1e1bd-3b82-47a5-b259-da62a397db92" providerId="ADAL" clId="{008C3F84-4C29-4233-992B-2D26DEA7756B}" dt="2023-11-21T07:43:39.264" v="1087" actId="1076"/>
          <ac:spMkLst>
            <pc:docMk/>
            <pc:sldMk cId="762254632" sldId="327"/>
            <ac:spMk id="5" creationId="{0256447C-D35F-4F86-D90B-E90F6B46AE7F}"/>
          </ac:spMkLst>
        </pc:spChg>
        <pc:picChg chg="mod">
          <ac:chgData name="Tobias Brammer" userId="80a1e1bd-3b82-47a5-b259-da62a397db92" providerId="ADAL" clId="{008C3F84-4C29-4233-992B-2D26DEA7756B}" dt="2023-11-21T07:43:59.277" v="1089" actId="1076"/>
          <ac:picMkLst>
            <pc:docMk/>
            <pc:sldMk cId="762254632" sldId="327"/>
            <ac:picMk id="9" creationId="{0F345685-9460-E07A-59BB-0DD576793740}"/>
          </ac:picMkLst>
        </pc:picChg>
        <pc:picChg chg="mod">
          <ac:chgData name="Tobias Brammer" userId="80a1e1bd-3b82-47a5-b259-da62a397db92" providerId="ADAL" clId="{008C3F84-4C29-4233-992B-2D26DEA7756B}" dt="2023-11-21T07:43:50.800" v="1088" actId="1076"/>
          <ac:picMkLst>
            <pc:docMk/>
            <pc:sldMk cId="762254632" sldId="327"/>
            <ac:picMk id="12" creationId="{47664333-D894-5056-83A2-6BDBEC61091C}"/>
          </ac:picMkLst>
        </pc:picChg>
      </pc:sldChg>
      <pc:sldChg chg="addSp delSp modSp mod">
        <pc:chgData name="Tobias Brammer" userId="80a1e1bd-3b82-47a5-b259-da62a397db92" providerId="ADAL" clId="{008C3F84-4C29-4233-992B-2D26DEA7756B}" dt="2023-11-21T08:56:41.119" v="16661"/>
        <pc:sldMkLst>
          <pc:docMk/>
          <pc:sldMk cId="1279689104" sldId="329"/>
        </pc:sldMkLst>
        <pc:spChg chg="mod">
          <ac:chgData name="Tobias Brammer" userId="80a1e1bd-3b82-47a5-b259-da62a397db92" providerId="ADAL" clId="{008C3F84-4C29-4233-992B-2D26DEA7756B}" dt="2023-11-21T08:54:11.574" v="16499" actId="114"/>
          <ac:spMkLst>
            <pc:docMk/>
            <pc:sldMk cId="1279689104" sldId="329"/>
            <ac:spMk id="8" creationId="{9974A259-DC86-27AE-073B-E1B517848965}"/>
          </ac:spMkLst>
        </pc:spChg>
        <pc:picChg chg="add del mod">
          <ac:chgData name="Tobias Brammer" userId="80a1e1bd-3b82-47a5-b259-da62a397db92" providerId="ADAL" clId="{008C3F84-4C29-4233-992B-2D26DEA7756B}" dt="2023-11-21T08:56:37.487" v="16658" actId="478"/>
          <ac:picMkLst>
            <pc:docMk/>
            <pc:sldMk cId="1279689104" sldId="329"/>
            <ac:picMk id="3" creationId="{0070F8FB-CEAA-7DA6-3980-C1875ED82F51}"/>
          </ac:picMkLst>
        </pc:picChg>
        <pc:picChg chg="add mod">
          <ac:chgData name="Tobias Brammer" userId="80a1e1bd-3b82-47a5-b259-da62a397db92" providerId="ADAL" clId="{008C3F84-4C29-4233-992B-2D26DEA7756B}" dt="2023-11-21T08:56:41.119" v="16661"/>
          <ac:picMkLst>
            <pc:docMk/>
            <pc:sldMk cId="1279689104" sldId="329"/>
            <ac:picMk id="5" creationId="{1ED0200A-B50E-15E7-CE95-1D7A4E0500E3}"/>
          </ac:picMkLst>
        </pc:picChg>
        <pc:picChg chg="mod">
          <ac:chgData name="Tobias Brammer" userId="80a1e1bd-3b82-47a5-b259-da62a397db92" providerId="ADAL" clId="{008C3F84-4C29-4233-992B-2D26DEA7756B}" dt="2023-11-21T06:50:42.415" v="20" actId="14826"/>
          <ac:picMkLst>
            <pc:docMk/>
            <pc:sldMk cId="1279689104" sldId="329"/>
            <ac:picMk id="12" creationId="{BC45735F-E063-4678-D02A-CBB56F461006}"/>
          </ac:picMkLst>
        </pc:picChg>
      </pc:sldChg>
      <pc:sldChg chg="addSp delSp modSp mod">
        <pc:chgData name="Tobias Brammer" userId="80a1e1bd-3b82-47a5-b259-da62a397db92" providerId="ADAL" clId="{008C3F84-4C29-4233-992B-2D26DEA7756B}" dt="2023-11-21T08:56:39.738" v="16660"/>
        <pc:sldMkLst>
          <pc:docMk/>
          <pc:sldMk cId="3816713439" sldId="330"/>
        </pc:sldMkLst>
        <pc:spChg chg="mod">
          <ac:chgData name="Tobias Brammer" userId="80a1e1bd-3b82-47a5-b259-da62a397db92" providerId="ADAL" clId="{008C3F84-4C29-4233-992B-2D26DEA7756B}" dt="2023-11-21T08:54:32.368" v="16510" actId="20577"/>
          <ac:spMkLst>
            <pc:docMk/>
            <pc:sldMk cId="3816713439" sldId="330"/>
            <ac:spMk id="8" creationId="{9974A259-DC86-27AE-073B-E1B517848965}"/>
          </ac:spMkLst>
        </pc:spChg>
        <pc:picChg chg="del mod replST">
          <ac:chgData name="Tobias Brammer" userId="80a1e1bd-3b82-47a5-b259-da62a397db92" providerId="ADAL" clId="{008C3F84-4C29-4233-992B-2D26DEA7756B}" dt="2023-11-21T08:56:38.783" v="16659" actId="478"/>
          <ac:picMkLst>
            <pc:docMk/>
            <pc:sldMk cId="3816713439" sldId="330"/>
            <ac:picMk id="5" creationId="{36656A0C-07DF-31CA-981D-C9F9C19290F7}"/>
          </ac:picMkLst>
        </pc:picChg>
        <pc:picChg chg="add mod">
          <ac:chgData name="Tobias Brammer" userId="80a1e1bd-3b82-47a5-b259-da62a397db92" providerId="ADAL" clId="{008C3F84-4C29-4233-992B-2D26DEA7756B}" dt="2023-11-21T08:56:39.738" v="16660"/>
          <ac:picMkLst>
            <pc:docMk/>
            <pc:sldMk cId="3816713439" sldId="330"/>
            <ac:picMk id="6" creationId="{CC09BA07-FB99-0CBB-028F-8EDA141C0993}"/>
          </ac:picMkLst>
        </pc:picChg>
        <pc:picChg chg="mod">
          <ac:chgData name="Tobias Brammer" userId="80a1e1bd-3b82-47a5-b259-da62a397db92" providerId="ADAL" clId="{008C3F84-4C29-4233-992B-2D26DEA7756B}" dt="2023-11-21T06:50:16.243" v="19" actId="14826"/>
          <ac:picMkLst>
            <pc:docMk/>
            <pc:sldMk cId="3816713439" sldId="330"/>
            <ac:picMk id="12" creationId="{BC45735F-E063-4678-D02A-CBB56F461006}"/>
          </ac:picMkLst>
        </pc:picChg>
      </pc:sldChg>
      <pc:sldChg chg="addSp delSp modSp mod">
        <pc:chgData name="Tobias Brammer" userId="80a1e1bd-3b82-47a5-b259-da62a397db92" providerId="ADAL" clId="{008C3F84-4C29-4233-992B-2D26DEA7756B}" dt="2023-11-21T08:56:35.902" v="16657" actId="478"/>
        <pc:sldMkLst>
          <pc:docMk/>
          <pc:sldMk cId="2198107308" sldId="331"/>
        </pc:sldMkLst>
        <pc:spChg chg="mod">
          <ac:chgData name="Tobias Brammer" userId="80a1e1bd-3b82-47a5-b259-da62a397db92" providerId="ADAL" clId="{008C3F84-4C29-4233-992B-2D26DEA7756B}" dt="2023-11-21T08:55:07.986" v="16550" actId="5793"/>
          <ac:spMkLst>
            <pc:docMk/>
            <pc:sldMk cId="2198107308" sldId="331"/>
            <ac:spMk id="8" creationId="{9974A259-DC86-27AE-073B-E1B517848965}"/>
          </ac:spMkLst>
        </pc:spChg>
        <pc:picChg chg="add del mod">
          <ac:chgData name="Tobias Brammer" userId="80a1e1bd-3b82-47a5-b259-da62a397db92" providerId="ADAL" clId="{008C3F84-4C29-4233-992B-2D26DEA7756B}" dt="2023-11-21T08:56:35.902" v="16657" actId="478"/>
          <ac:picMkLst>
            <pc:docMk/>
            <pc:sldMk cId="2198107308" sldId="331"/>
            <ac:picMk id="3" creationId="{DFC37639-8A45-829E-8D5F-E893BCBFE013}"/>
          </ac:picMkLst>
        </pc:picChg>
        <pc:picChg chg="add mod">
          <ac:chgData name="Tobias Brammer" userId="80a1e1bd-3b82-47a5-b259-da62a397db92" providerId="ADAL" clId="{008C3F84-4C29-4233-992B-2D26DEA7756B}" dt="2023-11-21T08:56:34.292" v="16656"/>
          <ac:picMkLst>
            <pc:docMk/>
            <pc:sldMk cId="2198107308" sldId="331"/>
            <ac:picMk id="5" creationId="{4655B969-C4CA-FC5A-9D60-2702F8B6808E}"/>
          </ac:picMkLst>
        </pc:picChg>
        <pc:picChg chg="mod">
          <ac:chgData name="Tobias Brammer" userId="80a1e1bd-3b82-47a5-b259-da62a397db92" providerId="ADAL" clId="{008C3F84-4C29-4233-992B-2D26DEA7756B}" dt="2023-11-21T06:51:12.601" v="21" actId="14826"/>
          <ac:picMkLst>
            <pc:docMk/>
            <pc:sldMk cId="2198107308" sldId="331"/>
            <ac:picMk id="12" creationId="{BC45735F-E063-4678-D02A-CBB56F461006}"/>
          </ac:picMkLst>
        </pc:picChg>
      </pc:sldChg>
      <pc:sldChg chg="addSp delSp modSp mod">
        <pc:chgData name="Tobias Brammer" userId="80a1e1bd-3b82-47a5-b259-da62a397db92" providerId="ADAL" clId="{008C3F84-4C29-4233-992B-2D26DEA7756B}" dt="2023-11-21T09:07:11.250" v="17617" actId="20577"/>
        <pc:sldMkLst>
          <pc:docMk/>
          <pc:sldMk cId="1431617520" sldId="332"/>
        </pc:sldMkLst>
        <pc:spChg chg="mod">
          <ac:chgData name="Tobias Brammer" userId="80a1e1bd-3b82-47a5-b259-da62a397db92" providerId="ADAL" clId="{008C3F84-4C29-4233-992B-2D26DEA7756B}" dt="2023-11-21T09:07:11.250" v="17617" actId="20577"/>
          <ac:spMkLst>
            <pc:docMk/>
            <pc:sldMk cId="1431617520" sldId="332"/>
            <ac:spMk id="8" creationId="{9974A259-DC86-27AE-073B-E1B517848965}"/>
          </ac:spMkLst>
        </pc:spChg>
        <pc:picChg chg="add del mod">
          <ac:chgData name="Tobias Brammer" userId="80a1e1bd-3b82-47a5-b259-da62a397db92" providerId="ADAL" clId="{008C3F84-4C29-4233-992B-2D26DEA7756B}" dt="2023-11-21T08:56:53.117" v="16666" actId="478"/>
          <ac:picMkLst>
            <pc:docMk/>
            <pc:sldMk cId="1431617520" sldId="332"/>
            <ac:picMk id="3" creationId="{952D6193-CFE2-C71A-AC5A-95A9C4323331}"/>
          </ac:picMkLst>
        </pc:picChg>
        <pc:picChg chg="add mod">
          <ac:chgData name="Tobias Brammer" userId="80a1e1bd-3b82-47a5-b259-da62a397db92" providerId="ADAL" clId="{008C3F84-4C29-4233-992B-2D26DEA7756B}" dt="2023-11-21T08:56:53.376" v="16667"/>
          <ac:picMkLst>
            <pc:docMk/>
            <pc:sldMk cId="1431617520" sldId="332"/>
            <ac:picMk id="5" creationId="{27EB888D-A4A9-CE63-8130-10ED9858A640}"/>
          </ac:picMkLst>
        </pc:picChg>
        <pc:picChg chg="mod">
          <ac:chgData name="Tobias Brammer" userId="80a1e1bd-3b82-47a5-b259-da62a397db92" providerId="ADAL" clId="{008C3F84-4C29-4233-992B-2D26DEA7756B}" dt="2023-11-21T06:51:25.484" v="22" actId="14826"/>
          <ac:picMkLst>
            <pc:docMk/>
            <pc:sldMk cId="1431617520" sldId="332"/>
            <ac:picMk id="12" creationId="{BC45735F-E063-4678-D02A-CBB56F461006}"/>
          </ac:picMkLst>
        </pc:picChg>
      </pc:sldChg>
      <pc:sldChg chg="addSp modSp mod ord">
        <pc:chgData name="Tobias Brammer" userId="80a1e1bd-3b82-47a5-b259-da62a397db92" providerId="ADAL" clId="{008C3F84-4C29-4233-992B-2D26DEA7756B}" dt="2023-11-21T08:56:20.154" v="16655" actId="1038"/>
        <pc:sldMkLst>
          <pc:docMk/>
          <pc:sldMk cId="160220345" sldId="333"/>
        </pc:sldMkLst>
        <pc:spChg chg="mod">
          <ac:chgData name="Tobias Brammer" userId="80a1e1bd-3b82-47a5-b259-da62a397db92" providerId="ADAL" clId="{008C3F84-4C29-4233-992B-2D26DEA7756B}" dt="2023-11-21T08:56:09.171" v="16644" actId="20577"/>
          <ac:spMkLst>
            <pc:docMk/>
            <pc:sldMk cId="160220345" sldId="333"/>
            <ac:spMk id="8" creationId="{9974A259-DC86-27AE-073B-E1B517848965}"/>
          </ac:spMkLst>
        </pc:spChg>
        <pc:picChg chg="add mod">
          <ac:chgData name="Tobias Brammer" userId="80a1e1bd-3b82-47a5-b259-da62a397db92" providerId="ADAL" clId="{008C3F84-4C29-4233-992B-2D26DEA7756B}" dt="2023-11-21T08:56:20.154" v="16655" actId="1038"/>
          <ac:picMkLst>
            <pc:docMk/>
            <pc:sldMk cId="160220345" sldId="333"/>
            <ac:picMk id="3" creationId="{91BCBFCE-5E88-D83C-416C-A9F475A4B176}"/>
          </ac:picMkLst>
        </pc:picChg>
        <pc:picChg chg="mod">
          <ac:chgData name="Tobias Brammer" userId="80a1e1bd-3b82-47a5-b259-da62a397db92" providerId="ADAL" clId="{008C3F84-4C29-4233-992B-2D26DEA7756B}" dt="2023-11-21T06:52:18.308" v="25" actId="14826"/>
          <ac:picMkLst>
            <pc:docMk/>
            <pc:sldMk cId="160220345" sldId="333"/>
            <ac:picMk id="12" creationId="{BC45735F-E063-4678-D02A-CBB56F461006}"/>
          </ac:picMkLst>
        </pc:picChg>
      </pc:sldChg>
      <pc:sldChg chg="addSp delSp modSp mod">
        <pc:chgData name="Tobias Brammer" userId="80a1e1bd-3b82-47a5-b259-da62a397db92" providerId="ADAL" clId="{008C3F84-4C29-4233-992B-2D26DEA7756B}" dt="2023-11-21T09:13:25.937" v="18024" actId="20577"/>
        <pc:sldMkLst>
          <pc:docMk/>
          <pc:sldMk cId="2191927288" sldId="335"/>
        </pc:sldMkLst>
        <pc:spChg chg="mod">
          <ac:chgData name="Tobias Brammer" userId="80a1e1bd-3b82-47a5-b259-da62a397db92" providerId="ADAL" clId="{008C3F84-4C29-4233-992B-2D26DEA7756B}" dt="2023-11-21T09:13:25.937" v="18024" actId="20577"/>
          <ac:spMkLst>
            <pc:docMk/>
            <pc:sldMk cId="2191927288" sldId="335"/>
            <ac:spMk id="8" creationId="{9974A259-DC86-27AE-073B-E1B517848965}"/>
          </ac:spMkLst>
        </pc:spChg>
        <pc:picChg chg="add mod">
          <ac:chgData name="Tobias Brammer" userId="80a1e1bd-3b82-47a5-b259-da62a397db92" providerId="ADAL" clId="{008C3F84-4C29-4233-992B-2D26DEA7756B}" dt="2023-11-21T06:49:25.983" v="17" actId="14826"/>
          <ac:picMkLst>
            <pc:docMk/>
            <pc:sldMk cId="2191927288" sldId="335"/>
            <ac:picMk id="5" creationId="{61AC1B65-A75D-8FEA-A4C1-B1F7480F9899}"/>
          </ac:picMkLst>
        </pc:picChg>
        <pc:picChg chg="del">
          <ac:chgData name="Tobias Brammer" userId="80a1e1bd-3b82-47a5-b259-da62a397db92" providerId="ADAL" clId="{008C3F84-4C29-4233-992B-2D26DEA7756B}" dt="2023-11-20T13:52:29.754" v="0" actId="478"/>
          <ac:picMkLst>
            <pc:docMk/>
            <pc:sldMk cId="2191927288" sldId="335"/>
            <ac:picMk id="12" creationId="{BC45735F-E063-4678-D02A-CBB56F461006}"/>
          </ac:picMkLst>
        </pc:picChg>
      </pc:sldChg>
      <pc:sldChg chg="addSp delSp modSp add del mod ord">
        <pc:chgData name="Tobias Brammer" userId="80a1e1bd-3b82-47a5-b259-da62a397db92" providerId="ADAL" clId="{008C3F84-4C29-4233-992B-2D26DEA7756B}" dt="2023-11-21T09:05:22.723" v="17386" actId="20577"/>
        <pc:sldMkLst>
          <pc:docMk/>
          <pc:sldMk cId="755572344" sldId="336"/>
        </pc:sldMkLst>
        <pc:spChg chg="mod">
          <ac:chgData name="Tobias Brammer" userId="80a1e1bd-3b82-47a5-b259-da62a397db92" providerId="ADAL" clId="{008C3F84-4C29-4233-992B-2D26DEA7756B}" dt="2023-11-21T09:05:22.723" v="17386" actId="20577"/>
          <ac:spMkLst>
            <pc:docMk/>
            <pc:sldMk cId="755572344" sldId="336"/>
            <ac:spMk id="8" creationId="{9974A259-DC86-27AE-073B-E1B517848965}"/>
          </ac:spMkLst>
        </pc:spChg>
        <pc:graphicFrameChg chg="mod">
          <ac:chgData name="Tobias Brammer" userId="80a1e1bd-3b82-47a5-b259-da62a397db92" providerId="ADAL" clId="{008C3F84-4C29-4233-992B-2D26DEA7756B}" dt="2023-11-21T06:53:36.669" v="152"/>
          <ac:graphicFrameMkLst>
            <pc:docMk/>
            <pc:sldMk cId="755572344" sldId="336"/>
            <ac:graphicFrameMk id="4" creationId="{79C05AFC-9555-D40C-AD9D-3E13BD0A4FC2}"/>
          </ac:graphicFrameMkLst>
        </pc:graphicFrameChg>
        <pc:picChg chg="add del mod">
          <ac:chgData name="Tobias Brammer" userId="80a1e1bd-3b82-47a5-b259-da62a397db92" providerId="ADAL" clId="{008C3F84-4C29-4233-992B-2D26DEA7756B}" dt="2023-11-21T08:56:49.790" v="16664" actId="478"/>
          <ac:picMkLst>
            <pc:docMk/>
            <pc:sldMk cId="755572344" sldId="336"/>
            <ac:picMk id="3" creationId="{98EA1974-1BFB-6AAC-A735-9AAE790012FF}"/>
          </ac:picMkLst>
        </pc:picChg>
        <pc:picChg chg="add mod">
          <ac:chgData name="Tobias Brammer" userId="80a1e1bd-3b82-47a5-b259-da62a397db92" providerId="ADAL" clId="{008C3F84-4C29-4233-992B-2D26DEA7756B}" dt="2023-11-21T08:56:50.107" v="16665"/>
          <ac:picMkLst>
            <pc:docMk/>
            <pc:sldMk cId="755572344" sldId="336"/>
            <ac:picMk id="5" creationId="{38C593B5-A0A3-4D89-061C-44A774E26E4F}"/>
          </ac:picMkLst>
        </pc:picChg>
        <pc:picChg chg="mod">
          <ac:chgData name="Tobias Brammer" userId="80a1e1bd-3b82-47a5-b259-da62a397db92" providerId="ADAL" clId="{008C3F84-4C29-4233-992B-2D26DEA7756B}" dt="2023-11-21T06:53:54.365" v="154" actId="14826"/>
          <ac:picMkLst>
            <pc:docMk/>
            <pc:sldMk cId="755572344" sldId="336"/>
            <ac:picMk id="12" creationId="{BC45735F-E063-4678-D02A-CBB56F461006}"/>
          </ac:picMkLst>
        </pc:picChg>
      </pc:sldChg>
      <pc:sldChg chg="new add del">
        <pc:chgData name="Tobias Brammer" userId="80a1e1bd-3b82-47a5-b259-da62a397db92" providerId="ADAL" clId="{008C3F84-4C29-4233-992B-2D26DEA7756B}" dt="2023-11-21T06:52:45.665" v="30" actId="47"/>
        <pc:sldMkLst>
          <pc:docMk/>
          <pc:sldMk cId="2199616065" sldId="337"/>
        </pc:sldMkLst>
      </pc:sldChg>
      <pc:sldChg chg="addSp delSp modSp new add mod">
        <pc:chgData name="Tobias Brammer" userId="80a1e1bd-3b82-47a5-b259-da62a397db92" providerId="ADAL" clId="{008C3F84-4C29-4233-992B-2D26DEA7756B}" dt="2023-11-21T06:53:08.233" v="94"/>
        <pc:sldMkLst>
          <pc:docMk/>
          <pc:sldMk cId="2690539145" sldId="337"/>
        </pc:sldMkLst>
        <pc:spChg chg="mod">
          <ac:chgData name="Tobias Brammer" userId="80a1e1bd-3b82-47a5-b259-da62a397db92" providerId="ADAL" clId="{008C3F84-4C29-4233-992B-2D26DEA7756B}" dt="2023-11-21T06:53:08.196" v="67" actId="948"/>
          <ac:spMkLst>
            <pc:docMk/>
            <pc:sldMk cId="2690539145" sldId="337"/>
            <ac:spMk id="2" creationId="{3211FE1D-FF86-0AFA-5921-A013D2808BA6}"/>
          </ac:spMkLst>
        </pc:spChg>
        <pc:spChg chg="add del mod modVis">
          <ac:chgData name="Tobias Brammer" userId="80a1e1bd-3b82-47a5-b259-da62a397db92" providerId="ADAL" clId="{008C3F84-4C29-4233-992B-2D26DEA7756B}" dt="2023-11-21T06:53:08.231" v="92"/>
          <ac:spMkLst>
            <pc:docMk/>
            <pc:sldMk cId="2690539145" sldId="337"/>
            <ac:spMk id="5" creationId="{F0E63059-031C-ACC9-52A6-5F5A2EEBFBA0}"/>
          </ac:spMkLst>
        </pc:spChg>
        <pc:graphicFrameChg chg="add mod ord modVis replST">
          <ac:chgData name="Tobias Brammer" userId="80a1e1bd-3b82-47a5-b259-da62a397db92" providerId="ADAL" clId="{008C3F84-4C29-4233-992B-2D26DEA7756B}" dt="2023-11-21T06:53:08.233" v="94"/>
          <ac:graphicFrameMkLst>
            <pc:docMk/>
            <pc:sldMk cId="2690539145" sldId="337"/>
            <ac:graphicFrameMk id="4" creationId="{CFBFA525-500E-18C1-4247-C00AF685E7F5}"/>
          </ac:graphicFrameMkLst>
        </pc:graphicFrameChg>
      </pc:sldChg>
      <pc:sldChg chg="modSp add mod">
        <pc:chgData name="Tobias Brammer" userId="80a1e1bd-3b82-47a5-b259-da62a397db92" providerId="ADAL" clId="{008C3F84-4C29-4233-992B-2D26DEA7756B}" dt="2023-11-21T06:53:27.552" v="147"/>
        <pc:sldMkLst>
          <pc:docMk/>
          <pc:sldMk cId="3252766712" sldId="338"/>
        </pc:sldMkLst>
        <pc:spChg chg="mod">
          <ac:chgData name="Tobias Brammer" userId="80a1e1bd-3b82-47a5-b259-da62a397db92" providerId="ADAL" clId="{008C3F84-4C29-4233-992B-2D26DEA7756B}" dt="2023-11-21T06:53:27.552" v="143" actId="948"/>
          <ac:spMkLst>
            <pc:docMk/>
            <pc:sldMk cId="3252766712" sldId="338"/>
            <ac:spMk id="2" creationId="{3211FE1D-FF86-0AFA-5921-A013D2808BA6}"/>
          </ac:spMkLst>
        </pc:spChg>
        <pc:graphicFrameChg chg="mod">
          <ac:chgData name="Tobias Brammer" userId="80a1e1bd-3b82-47a5-b259-da62a397db92" providerId="ADAL" clId="{008C3F84-4C29-4233-992B-2D26DEA7756B}" dt="2023-11-21T06:53:27.552" v="147"/>
          <ac:graphicFrameMkLst>
            <pc:docMk/>
            <pc:sldMk cId="3252766712" sldId="338"/>
            <ac:graphicFrameMk id="4" creationId="{CFBFA525-500E-18C1-4247-C00AF685E7F5}"/>
          </ac:graphicFrameMkLst>
        </pc:graphicFrameChg>
      </pc:sldChg>
      <pc:sldChg chg="addSp delSp modSp add mod">
        <pc:chgData name="Tobias Brammer" userId="80a1e1bd-3b82-47a5-b259-da62a397db92" providerId="ADAL" clId="{008C3F84-4C29-4233-992B-2D26DEA7756B}" dt="2023-11-21T09:09:51.482" v="17918" actId="20577"/>
        <pc:sldMkLst>
          <pc:docMk/>
          <pc:sldMk cId="3932918211" sldId="339"/>
        </pc:sldMkLst>
        <pc:spChg chg="mod">
          <ac:chgData name="Tobias Brammer" userId="80a1e1bd-3b82-47a5-b259-da62a397db92" providerId="ADAL" clId="{008C3F84-4C29-4233-992B-2D26DEA7756B}" dt="2023-11-21T09:09:51.482" v="17918" actId="20577"/>
          <ac:spMkLst>
            <pc:docMk/>
            <pc:sldMk cId="3932918211" sldId="339"/>
            <ac:spMk id="8" creationId="{9974A259-DC86-27AE-073B-E1B517848965}"/>
          </ac:spMkLst>
        </pc:spChg>
        <pc:picChg chg="add del mod">
          <ac:chgData name="Tobias Brammer" userId="80a1e1bd-3b82-47a5-b259-da62a397db92" providerId="ADAL" clId="{008C3F84-4C29-4233-992B-2D26DEA7756B}" dt="2023-11-21T08:57:02.752" v="16674" actId="478"/>
          <ac:picMkLst>
            <pc:docMk/>
            <pc:sldMk cId="3932918211" sldId="339"/>
            <ac:picMk id="3" creationId="{18F35A57-980C-5D75-6FFF-13796202A7FC}"/>
          </ac:picMkLst>
        </pc:picChg>
        <pc:picChg chg="add mod">
          <ac:chgData name="Tobias Brammer" userId="80a1e1bd-3b82-47a5-b259-da62a397db92" providerId="ADAL" clId="{008C3F84-4C29-4233-992B-2D26DEA7756B}" dt="2023-11-21T08:57:03.032" v="16675"/>
          <ac:picMkLst>
            <pc:docMk/>
            <pc:sldMk cId="3932918211" sldId="339"/>
            <ac:picMk id="5" creationId="{85F10660-C458-6202-9293-4BA27BE5094D}"/>
          </ac:picMkLst>
        </pc:picChg>
      </pc:sldChg>
      <pc:sldChg chg="addSp delSp modSp add mod ord">
        <pc:chgData name="Tobias Brammer" userId="80a1e1bd-3b82-47a5-b259-da62a397db92" providerId="ADAL" clId="{008C3F84-4C29-4233-992B-2D26DEA7756B}" dt="2023-11-21T09:03:09.225" v="17264" actId="478"/>
        <pc:sldMkLst>
          <pc:docMk/>
          <pc:sldMk cId="2084257171" sldId="340"/>
        </pc:sldMkLst>
        <pc:spChg chg="mod">
          <ac:chgData name="Tobias Brammer" userId="80a1e1bd-3b82-47a5-b259-da62a397db92" providerId="ADAL" clId="{008C3F84-4C29-4233-992B-2D26DEA7756B}" dt="2023-11-21T09:00:57.223" v="17227" actId="20577"/>
          <ac:spMkLst>
            <pc:docMk/>
            <pc:sldMk cId="2084257171" sldId="340"/>
            <ac:spMk id="8" creationId="{9974A259-DC86-27AE-073B-E1B517848965}"/>
          </ac:spMkLst>
        </pc:spChg>
        <pc:picChg chg="add del mod">
          <ac:chgData name="Tobias Brammer" userId="80a1e1bd-3b82-47a5-b259-da62a397db92" providerId="ADAL" clId="{008C3F84-4C29-4233-992B-2D26DEA7756B}" dt="2023-11-21T08:56:46.098" v="16662" actId="478"/>
          <ac:picMkLst>
            <pc:docMk/>
            <pc:sldMk cId="2084257171" sldId="340"/>
            <ac:picMk id="3" creationId="{89B2339C-3171-6780-EA38-664AEB7D1C4C}"/>
          </ac:picMkLst>
        </pc:picChg>
        <pc:picChg chg="add del mod">
          <ac:chgData name="Tobias Brammer" userId="80a1e1bd-3b82-47a5-b259-da62a397db92" providerId="ADAL" clId="{008C3F84-4C29-4233-992B-2D26DEA7756B}" dt="2023-11-21T09:03:09.225" v="17264" actId="478"/>
          <ac:picMkLst>
            <pc:docMk/>
            <pc:sldMk cId="2084257171" sldId="340"/>
            <ac:picMk id="5" creationId="{CFB3962C-F4C4-2511-16B0-8E9661D3FAE8}"/>
          </ac:picMkLst>
        </pc:picChg>
        <pc:picChg chg="mod">
          <ac:chgData name="Tobias Brammer" userId="80a1e1bd-3b82-47a5-b259-da62a397db92" providerId="ADAL" clId="{008C3F84-4C29-4233-992B-2D26DEA7756B}" dt="2023-11-21T08:58:06.628" v="16719" actId="14826"/>
          <ac:picMkLst>
            <pc:docMk/>
            <pc:sldMk cId="2084257171" sldId="340"/>
            <ac:picMk id="12" creationId="{BC45735F-E063-4678-D02A-CBB56F461006}"/>
          </ac:picMkLst>
        </pc:picChg>
      </pc:sldChg>
      <pc:sldChg chg="addSp delSp modSp add mod">
        <pc:chgData name="Tobias Brammer" userId="80a1e1bd-3b82-47a5-b259-da62a397db92" providerId="ADAL" clId="{008C3F84-4C29-4233-992B-2D26DEA7756B}" dt="2023-11-21T09:07:37.763" v="17643" actId="20577"/>
        <pc:sldMkLst>
          <pc:docMk/>
          <pc:sldMk cId="1250151205" sldId="341"/>
        </pc:sldMkLst>
        <pc:spChg chg="mod">
          <ac:chgData name="Tobias Brammer" userId="80a1e1bd-3b82-47a5-b259-da62a397db92" providerId="ADAL" clId="{008C3F84-4C29-4233-992B-2D26DEA7756B}" dt="2023-11-21T09:07:37.763" v="17643" actId="20577"/>
          <ac:spMkLst>
            <pc:docMk/>
            <pc:sldMk cId="1250151205" sldId="341"/>
            <ac:spMk id="8" creationId="{9974A259-DC86-27AE-073B-E1B517848965}"/>
          </ac:spMkLst>
        </pc:spChg>
        <pc:picChg chg="add del mod">
          <ac:chgData name="Tobias Brammer" userId="80a1e1bd-3b82-47a5-b259-da62a397db92" providerId="ADAL" clId="{008C3F84-4C29-4233-992B-2D26DEA7756B}" dt="2023-11-21T08:56:55.223" v="16668" actId="478"/>
          <ac:picMkLst>
            <pc:docMk/>
            <pc:sldMk cId="1250151205" sldId="341"/>
            <ac:picMk id="3" creationId="{27768FE8-4F19-7A21-DE87-103E89C834B7}"/>
          </ac:picMkLst>
        </pc:picChg>
        <pc:picChg chg="add mod">
          <ac:chgData name="Tobias Brammer" userId="80a1e1bd-3b82-47a5-b259-da62a397db92" providerId="ADAL" clId="{008C3F84-4C29-4233-992B-2D26DEA7756B}" dt="2023-11-21T08:56:55.472" v="16669"/>
          <ac:picMkLst>
            <pc:docMk/>
            <pc:sldMk cId="1250151205" sldId="341"/>
            <ac:picMk id="5" creationId="{FDBFD339-2B15-D5FB-012C-0FF1396B1DEA}"/>
          </ac:picMkLst>
        </pc:picChg>
        <pc:picChg chg="mod">
          <ac:chgData name="Tobias Brammer" userId="80a1e1bd-3b82-47a5-b259-da62a397db92" providerId="ADAL" clId="{008C3F84-4C29-4233-992B-2D26DEA7756B}" dt="2023-11-21T06:54:58.849" v="162" actId="14826"/>
          <ac:picMkLst>
            <pc:docMk/>
            <pc:sldMk cId="1250151205" sldId="341"/>
            <ac:picMk id="12" creationId="{BC45735F-E063-4678-D02A-CBB56F461006}"/>
          </ac:picMkLst>
        </pc:picChg>
      </pc:sldChg>
      <pc:sldChg chg="addSp delSp modSp add mod">
        <pc:chgData name="Tobias Brammer" userId="80a1e1bd-3b82-47a5-b259-da62a397db92" providerId="ADAL" clId="{008C3F84-4C29-4233-992B-2D26DEA7756B}" dt="2023-11-21T09:08:37.244" v="17769" actId="20577"/>
        <pc:sldMkLst>
          <pc:docMk/>
          <pc:sldMk cId="2688903811" sldId="342"/>
        </pc:sldMkLst>
        <pc:spChg chg="mod">
          <ac:chgData name="Tobias Brammer" userId="80a1e1bd-3b82-47a5-b259-da62a397db92" providerId="ADAL" clId="{008C3F84-4C29-4233-992B-2D26DEA7756B}" dt="2023-11-21T09:08:37.244" v="17769" actId="20577"/>
          <ac:spMkLst>
            <pc:docMk/>
            <pc:sldMk cId="2688903811" sldId="342"/>
            <ac:spMk id="8" creationId="{9974A259-DC86-27AE-073B-E1B517848965}"/>
          </ac:spMkLst>
        </pc:spChg>
        <pc:picChg chg="add del mod">
          <ac:chgData name="Tobias Brammer" userId="80a1e1bd-3b82-47a5-b259-da62a397db92" providerId="ADAL" clId="{008C3F84-4C29-4233-992B-2D26DEA7756B}" dt="2023-11-21T08:56:57.707" v="16670" actId="478"/>
          <ac:picMkLst>
            <pc:docMk/>
            <pc:sldMk cId="2688903811" sldId="342"/>
            <ac:picMk id="3" creationId="{234221FA-BFEB-E51C-5D09-74491650512F}"/>
          </ac:picMkLst>
        </pc:picChg>
        <pc:picChg chg="add mod">
          <ac:chgData name="Tobias Brammer" userId="80a1e1bd-3b82-47a5-b259-da62a397db92" providerId="ADAL" clId="{008C3F84-4C29-4233-992B-2D26DEA7756B}" dt="2023-11-21T08:56:57.945" v="16671"/>
          <ac:picMkLst>
            <pc:docMk/>
            <pc:sldMk cId="2688903811" sldId="342"/>
            <ac:picMk id="5" creationId="{8E018B45-055E-7917-194F-AC1F91BF3AE9}"/>
          </ac:picMkLst>
        </pc:picChg>
        <pc:picChg chg="mod">
          <ac:chgData name="Tobias Brammer" userId="80a1e1bd-3b82-47a5-b259-da62a397db92" providerId="ADAL" clId="{008C3F84-4C29-4233-992B-2D26DEA7756B}" dt="2023-11-21T06:55:15.809" v="164" actId="14826"/>
          <ac:picMkLst>
            <pc:docMk/>
            <pc:sldMk cId="2688903811" sldId="342"/>
            <ac:picMk id="12" creationId="{BC45735F-E063-4678-D02A-CBB56F461006}"/>
          </ac:picMkLst>
        </pc:picChg>
      </pc:sldChg>
      <pc:sldChg chg="addSp delSp modSp add mod">
        <pc:chgData name="Tobias Brammer" userId="80a1e1bd-3b82-47a5-b259-da62a397db92" providerId="ADAL" clId="{008C3F84-4C29-4233-992B-2D26DEA7756B}" dt="2023-11-21T09:09:05.080" v="17795" actId="5793"/>
        <pc:sldMkLst>
          <pc:docMk/>
          <pc:sldMk cId="684303183" sldId="343"/>
        </pc:sldMkLst>
        <pc:spChg chg="mod">
          <ac:chgData name="Tobias Brammer" userId="80a1e1bd-3b82-47a5-b259-da62a397db92" providerId="ADAL" clId="{008C3F84-4C29-4233-992B-2D26DEA7756B}" dt="2023-11-21T09:09:05.080" v="17795" actId="5793"/>
          <ac:spMkLst>
            <pc:docMk/>
            <pc:sldMk cId="684303183" sldId="343"/>
            <ac:spMk id="8" creationId="{9974A259-DC86-27AE-073B-E1B517848965}"/>
          </ac:spMkLst>
        </pc:spChg>
        <pc:picChg chg="add del mod">
          <ac:chgData name="Tobias Brammer" userId="80a1e1bd-3b82-47a5-b259-da62a397db92" providerId="ADAL" clId="{008C3F84-4C29-4233-992B-2D26DEA7756B}" dt="2023-11-21T08:57:00.224" v="16672" actId="478"/>
          <ac:picMkLst>
            <pc:docMk/>
            <pc:sldMk cId="684303183" sldId="343"/>
            <ac:picMk id="3" creationId="{01F1AB17-707F-A819-DB7E-B059E81355DA}"/>
          </ac:picMkLst>
        </pc:picChg>
        <pc:picChg chg="add mod">
          <ac:chgData name="Tobias Brammer" userId="80a1e1bd-3b82-47a5-b259-da62a397db92" providerId="ADAL" clId="{008C3F84-4C29-4233-992B-2D26DEA7756B}" dt="2023-11-21T08:57:00.479" v="16673"/>
          <ac:picMkLst>
            <pc:docMk/>
            <pc:sldMk cId="684303183" sldId="343"/>
            <ac:picMk id="5" creationId="{A8939311-BFFD-B889-65D0-63A766808E7F}"/>
          </ac:picMkLst>
        </pc:picChg>
        <pc:picChg chg="mod">
          <ac:chgData name="Tobias Brammer" userId="80a1e1bd-3b82-47a5-b259-da62a397db92" providerId="ADAL" clId="{008C3F84-4C29-4233-992B-2D26DEA7756B}" dt="2023-11-21T06:55:36.613" v="166" actId="14826"/>
          <ac:picMkLst>
            <pc:docMk/>
            <pc:sldMk cId="684303183" sldId="343"/>
            <ac:picMk id="12" creationId="{BC45735F-E063-4678-D02A-CBB56F461006}"/>
          </ac:picMkLst>
        </pc:picChg>
      </pc:sldChg>
      <pc:sldChg chg="add del">
        <pc:chgData name="Tobias Brammer" userId="80a1e1bd-3b82-47a5-b259-da62a397db92" providerId="ADAL" clId="{008C3F84-4C29-4233-992B-2D26DEA7756B}" dt="2023-11-21T06:55:41.627" v="168"/>
        <pc:sldMkLst>
          <pc:docMk/>
          <pc:sldMk cId="3307840895" sldId="344"/>
        </pc:sldMkLst>
      </pc:sldChg>
      <pc:sldChg chg="addSp delSp modSp add mod">
        <pc:chgData name="Tobias Brammer" userId="80a1e1bd-3b82-47a5-b259-da62a397db92" providerId="ADAL" clId="{008C3F84-4C29-4233-992B-2D26DEA7756B}" dt="2023-11-21T09:10:21.671" v="17960" actId="20577"/>
        <pc:sldMkLst>
          <pc:docMk/>
          <pc:sldMk cId="4030577437" sldId="344"/>
        </pc:sldMkLst>
        <pc:spChg chg="mod">
          <ac:chgData name="Tobias Brammer" userId="80a1e1bd-3b82-47a5-b259-da62a397db92" providerId="ADAL" clId="{008C3F84-4C29-4233-992B-2D26DEA7756B}" dt="2023-11-21T09:10:21.671" v="17960" actId="20577"/>
          <ac:spMkLst>
            <pc:docMk/>
            <pc:sldMk cId="4030577437" sldId="344"/>
            <ac:spMk id="8" creationId="{9974A259-DC86-27AE-073B-E1B517848965}"/>
          </ac:spMkLst>
        </pc:spChg>
        <pc:picChg chg="add del mod">
          <ac:chgData name="Tobias Brammer" userId="80a1e1bd-3b82-47a5-b259-da62a397db92" providerId="ADAL" clId="{008C3F84-4C29-4233-992B-2D26DEA7756B}" dt="2023-11-21T08:57:05.286" v="16676" actId="478"/>
          <ac:picMkLst>
            <pc:docMk/>
            <pc:sldMk cId="4030577437" sldId="344"/>
            <ac:picMk id="3" creationId="{4DE19490-2E48-2082-D8FF-90AEA1145482}"/>
          </ac:picMkLst>
        </pc:picChg>
        <pc:picChg chg="add mod">
          <ac:chgData name="Tobias Brammer" userId="80a1e1bd-3b82-47a5-b259-da62a397db92" providerId="ADAL" clId="{008C3F84-4C29-4233-992B-2D26DEA7756B}" dt="2023-11-21T08:57:05.502" v="16677"/>
          <ac:picMkLst>
            <pc:docMk/>
            <pc:sldMk cId="4030577437" sldId="344"/>
            <ac:picMk id="5" creationId="{AC1E59B1-D618-5E76-60D5-4803EA52917C}"/>
          </ac:picMkLst>
        </pc:picChg>
        <pc:picChg chg="mod">
          <ac:chgData name="Tobias Brammer" userId="80a1e1bd-3b82-47a5-b259-da62a397db92" providerId="ADAL" clId="{008C3F84-4C29-4233-992B-2D26DEA7756B}" dt="2023-11-21T06:55:56.524" v="170" actId="14826"/>
          <ac:picMkLst>
            <pc:docMk/>
            <pc:sldMk cId="4030577437" sldId="344"/>
            <ac:picMk id="12" creationId="{BC45735F-E063-4678-D02A-CBB56F461006}"/>
          </ac:picMkLst>
        </pc:picChg>
      </pc:sldChg>
      <pc:sldChg chg="addSp delSp modSp add mod">
        <pc:chgData name="Tobias Brammer" userId="80a1e1bd-3b82-47a5-b259-da62a397db92" providerId="ADAL" clId="{008C3F84-4C29-4233-992B-2D26DEA7756B}" dt="2023-11-21T09:10:47.496" v="17993" actId="20577"/>
        <pc:sldMkLst>
          <pc:docMk/>
          <pc:sldMk cId="1895318357" sldId="345"/>
        </pc:sldMkLst>
        <pc:spChg chg="mod">
          <ac:chgData name="Tobias Brammer" userId="80a1e1bd-3b82-47a5-b259-da62a397db92" providerId="ADAL" clId="{008C3F84-4C29-4233-992B-2D26DEA7756B}" dt="2023-11-21T09:10:47.496" v="17993" actId="20577"/>
          <ac:spMkLst>
            <pc:docMk/>
            <pc:sldMk cId="1895318357" sldId="345"/>
            <ac:spMk id="8" creationId="{9974A259-DC86-27AE-073B-E1B517848965}"/>
          </ac:spMkLst>
        </pc:spChg>
        <pc:picChg chg="add del mod">
          <ac:chgData name="Tobias Brammer" userId="80a1e1bd-3b82-47a5-b259-da62a397db92" providerId="ADAL" clId="{008C3F84-4C29-4233-992B-2D26DEA7756B}" dt="2023-11-21T08:57:07.759" v="16678" actId="478"/>
          <ac:picMkLst>
            <pc:docMk/>
            <pc:sldMk cId="1895318357" sldId="345"/>
            <ac:picMk id="3" creationId="{6D68A382-7C7B-7FA8-43D3-E9F0D177B9FA}"/>
          </ac:picMkLst>
        </pc:picChg>
        <pc:picChg chg="add mod">
          <ac:chgData name="Tobias Brammer" userId="80a1e1bd-3b82-47a5-b259-da62a397db92" providerId="ADAL" clId="{008C3F84-4C29-4233-992B-2D26DEA7756B}" dt="2023-11-21T08:57:07.989" v="16679"/>
          <ac:picMkLst>
            <pc:docMk/>
            <pc:sldMk cId="1895318357" sldId="345"/>
            <ac:picMk id="5" creationId="{90163ED5-D2A5-ACE4-4161-A4442EB303D4}"/>
          </ac:picMkLst>
        </pc:picChg>
        <pc:picChg chg="mod">
          <ac:chgData name="Tobias Brammer" userId="80a1e1bd-3b82-47a5-b259-da62a397db92" providerId="ADAL" clId="{008C3F84-4C29-4233-992B-2D26DEA7756B}" dt="2023-11-21T06:56:14.044" v="172" actId="14826"/>
          <ac:picMkLst>
            <pc:docMk/>
            <pc:sldMk cId="1895318357" sldId="345"/>
            <ac:picMk id="12" creationId="{BC45735F-E063-4678-D02A-CBB56F461006}"/>
          </ac:picMkLst>
        </pc:picChg>
      </pc:sldChg>
      <pc:sldChg chg="addSp delSp modSp add mod">
        <pc:chgData name="Tobias Brammer" userId="80a1e1bd-3b82-47a5-b259-da62a397db92" providerId="ADAL" clId="{008C3F84-4C29-4233-992B-2D26DEA7756B}" dt="2023-11-21T09:11:18.643" v="18017" actId="20577"/>
        <pc:sldMkLst>
          <pc:docMk/>
          <pc:sldMk cId="2111727864" sldId="346"/>
        </pc:sldMkLst>
        <pc:spChg chg="mod">
          <ac:chgData name="Tobias Brammer" userId="80a1e1bd-3b82-47a5-b259-da62a397db92" providerId="ADAL" clId="{008C3F84-4C29-4233-992B-2D26DEA7756B}" dt="2023-11-21T09:11:18.643" v="18017" actId="20577"/>
          <ac:spMkLst>
            <pc:docMk/>
            <pc:sldMk cId="2111727864" sldId="346"/>
            <ac:spMk id="8" creationId="{9974A259-DC86-27AE-073B-E1B517848965}"/>
          </ac:spMkLst>
        </pc:spChg>
        <pc:picChg chg="add del mod">
          <ac:chgData name="Tobias Brammer" userId="80a1e1bd-3b82-47a5-b259-da62a397db92" providerId="ADAL" clId="{008C3F84-4C29-4233-992B-2D26DEA7756B}" dt="2023-11-21T08:57:10.224" v="16680" actId="478"/>
          <ac:picMkLst>
            <pc:docMk/>
            <pc:sldMk cId="2111727864" sldId="346"/>
            <ac:picMk id="3" creationId="{C5D8172A-A688-8A90-5671-CD484627EF66}"/>
          </ac:picMkLst>
        </pc:picChg>
        <pc:picChg chg="add mod">
          <ac:chgData name="Tobias Brammer" userId="80a1e1bd-3b82-47a5-b259-da62a397db92" providerId="ADAL" clId="{008C3F84-4C29-4233-992B-2D26DEA7756B}" dt="2023-11-21T08:57:10.409" v="16681"/>
          <ac:picMkLst>
            <pc:docMk/>
            <pc:sldMk cId="2111727864" sldId="346"/>
            <ac:picMk id="5" creationId="{6CEFFA60-89BA-3347-AAC1-9544B7D40E08}"/>
          </ac:picMkLst>
        </pc:picChg>
        <pc:picChg chg="mod">
          <ac:chgData name="Tobias Brammer" userId="80a1e1bd-3b82-47a5-b259-da62a397db92" providerId="ADAL" clId="{008C3F84-4C29-4233-992B-2D26DEA7756B}" dt="2023-11-21T06:56:30.874" v="178" actId="1036"/>
          <ac:picMkLst>
            <pc:docMk/>
            <pc:sldMk cId="2111727864" sldId="346"/>
            <ac:picMk id="12" creationId="{BC45735F-E063-4678-D02A-CBB56F461006}"/>
          </ac:picMkLst>
        </pc:picChg>
      </pc:sldChg>
      <pc:sldChg chg="delSp add del mod">
        <pc:chgData name="Tobias Brammer" userId="80a1e1bd-3b82-47a5-b259-da62a397db92" providerId="ADAL" clId="{008C3F84-4C29-4233-992B-2D26DEA7756B}" dt="2023-11-21T06:57:09.217" v="184" actId="47"/>
        <pc:sldMkLst>
          <pc:docMk/>
          <pc:sldMk cId="3176202514" sldId="347"/>
        </pc:sldMkLst>
        <pc:picChg chg="del">
          <ac:chgData name="Tobias Brammer" userId="80a1e1bd-3b82-47a5-b259-da62a397db92" providerId="ADAL" clId="{008C3F84-4C29-4233-992B-2D26DEA7756B}" dt="2023-11-21T06:57:06.887" v="183" actId="478"/>
          <ac:picMkLst>
            <pc:docMk/>
            <pc:sldMk cId="3176202514" sldId="347"/>
            <ac:picMk id="12" creationId="{BC45735F-E063-4678-D02A-CBB56F461006}"/>
          </ac:picMkLst>
        </pc:picChg>
      </pc:sldChg>
      <pc:sldChg chg="addSp delSp modSp add mod">
        <pc:chgData name="Tobias Brammer" userId="80a1e1bd-3b82-47a5-b259-da62a397db92" providerId="ADAL" clId="{008C3F84-4C29-4233-992B-2D26DEA7756B}" dt="2023-11-21T06:57:19.559" v="231"/>
        <pc:sldMkLst>
          <pc:docMk/>
          <pc:sldMk cId="3745807297" sldId="347"/>
        </pc:sldMkLst>
        <pc:spChg chg="mod">
          <ac:chgData name="Tobias Brammer" userId="80a1e1bd-3b82-47a5-b259-da62a397db92" providerId="ADAL" clId="{008C3F84-4C29-4233-992B-2D26DEA7756B}" dt="2023-11-21T06:57:19.544" v="204" actId="948"/>
          <ac:spMkLst>
            <pc:docMk/>
            <pc:sldMk cId="3745807297" sldId="347"/>
            <ac:spMk id="2" creationId="{3211FE1D-FF86-0AFA-5921-A013D2808BA6}"/>
          </ac:spMkLst>
        </pc:spChg>
        <pc:spChg chg="add del mod modVis">
          <ac:chgData name="Tobias Brammer" userId="80a1e1bd-3b82-47a5-b259-da62a397db92" providerId="ADAL" clId="{008C3F84-4C29-4233-992B-2D26DEA7756B}" dt="2023-11-21T06:57:19.559" v="229"/>
          <ac:spMkLst>
            <pc:docMk/>
            <pc:sldMk cId="3745807297" sldId="347"/>
            <ac:spMk id="5" creationId="{BBA560AA-F30B-D662-2A93-BE689558050A}"/>
          </ac:spMkLst>
        </pc:spChg>
        <pc:graphicFrameChg chg="mod">
          <ac:chgData name="Tobias Brammer" userId="80a1e1bd-3b82-47a5-b259-da62a397db92" providerId="ADAL" clId="{008C3F84-4C29-4233-992B-2D26DEA7756B}" dt="2023-11-21T06:57:19.559" v="231"/>
          <ac:graphicFrameMkLst>
            <pc:docMk/>
            <pc:sldMk cId="3745807297" sldId="347"/>
            <ac:graphicFrameMk id="4" creationId="{CFBFA525-500E-18C1-4247-C00AF685E7F5}"/>
          </ac:graphicFrameMkLst>
        </pc:graphicFrameChg>
      </pc:sldChg>
      <pc:sldChg chg="modSp add del">
        <pc:chgData name="Tobias Brammer" userId="80a1e1bd-3b82-47a5-b259-da62a397db92" providerId="ADAL" clId="{008C3F84-4C29-4233-992B-2D26DEA7756B}" dt="2023-11-21T06:56:52.892" v="181" actId="47"/>
        <pc:sldMkLst>
          <pc:docMk/>
          <pc:sldMk cId="3748938952" sldId="347"/>
        </pc:sldMkLst>
        <pc:picChg chg="mod">
          <ac:chgData name="Tobias Brammer" userId="80a1e1bd-3b82-47a5-b259-da62a397db92" providerId="ADAL" clId="{008C3F84-4C29-4233-992B-2D26DEA7756B}" dt="2023-11-21T06:56:48.720" v="180" actId="14826"/>
          <ac:picMkLst>
            <pc:docMk/>
            <pc:sldMk cId="3748938952" sldId="347"/>
            <ac:picMk id="12" creationId="{BC45735F-E063-4678-D02A-CBB56F461006}"/>
          </ac:picMkLst>
        </pc:picChg>
      </pc:sldChg>
      <pc:sldChg chg="addSp delSp modSp add mod">
        <pc:chgData name="Tobias Brammer" userId="80a1e1bd-3b82-47a5-b259-da62a397db92" providerId="ADAL" clId="{008C3F84-4C29-4233-992B-2D26DEA7756B}" dt="2023-11-21T08:53:44.452" v="16491"/>
        <pc:sldMkLst>
          <pc:docMk/>
          <pc:sldMk cId="3355994258" sldId="348"/>
        </pc:sldMkLst>
        <pc:spChg chg="mod">
          <ac:chgData name="Tobias Brammer" userId="80a1e1bd-3b82-47a5-b259-da62a397db92" providerId="ADAL" clId="{008C3F84-4C29-4233-992B-2D26DEA7756B}" dt="2023-11-21T07:15:05.930" v="847" actId="20577"/>
          <ac:spMkLst>
            <pc:docMk/>
            <pc:sldMk cId="3355994258" sldId="348"/>
            <ac:spMk id="8" creationId="{9974A259-DC86-27AE-073B-E1B517848965}"/>
          </ac:spMkLst>
        </pc:spChg>
        <pc:picChg chg="add del mod">
          <ac:chgData name="Tobias Brammer" userId="80a1e1bd-3b82-47a5-b259-da62a397db92" providerId="ADAL" clId="{008C3F84-4C29-4233-992B-2D26DEA7756B}" dt="2023-11-21T08:53:44.452" v="16491"/>
          <ac:picMkLst>
            <pc:docMk/>
            <pc:sldMk cId="3355994258" sldId="348"/>
            <ac:picMk id="3" creationId="{1E80CD3E-58AC-D385-168A-BD9B3FC66BC7}"/>
          </ac:picMkLst>
        </pc:picChg>
        <pc:picChg chg="mod">
          <ac:chgData name="Tobias Brammer" userId="80a1e1bd-3b82-47a5-b259-da62a397db92" providerId="ADAL" clId="{008C3F84-4C29-4233-992B-2D26DEA7756B}" dt="2023-11-21T06:57:43.646" v="235" actId="14826"/>
          <ac:picMkLst>
            <pc:docMk/>
            <pc:sldMk cId="3355994258" sldId="348"/>
            <ac:picMk id="12" creationId="{BC45735F-E063-4678-D02A-CBB56F461006}"/>
          </ac:picMkLst>
        </pc:picChg>
      </pc:sldChg>
      <pc:sldChg chg="modSp add mod">
        <pc:chgData name="Tobias Brammer" userId="80a1e1bd-3b82-47a5-b259-da62a397db92" providerId="ADAL" clId="{008C3F84-4C29-4233-992B-2D26DEA7756B}" dt="2023-11-21T08:22:16.646" v="3946" actId="20577"/>
        <pc:sldMkLst>
          <pc:docMk/>
          <pc:sldMk cId="2455844067" sldId="349"/>
        </pc:sldMkLst>
        <pc:spChg chg="mod">
          <ac:chgData name="Tobias Brammer" userId="80a1e1bd-3b82-47a5-b259-da62a397db92" providerId="ADAL" clId="{008C3F84-4C29-4233-992B-2D26DEA7756B}" dt="2023-11-21T08:22:16.646" v="3946" actId="20577"/>
          <ac:spMkLst>
            <pc:docMk/>
            <pc:sldMk cId="2455844067" sldId="349"/>
            <ac:spMk id="8" creationId="{9974A259-DC86-27AE-073B-E1B517848965}"/>
          </ac:spMkLst>
        </pc:spChg>
        <pc:picChg chg="mod">
          <ac:chgData name="Tobias Brammer" userId="80a1e1bd-3b82-47a5-b259-da62a397db92" providerId="ADAL" clId="{008C3F84-4C29-4233-992B-2D26DEA7756B}" dt="2023-11-21T06:57:56.224" v="237" actId="14826"/>
          <ac:picMkLst>
            <pc:docMk/>
            <pc:sldMk cId="2455844067" sldId="349"/>
            <ac:picMk id="12" creationId="{BC45735F-E063-4678-D02A-CBB56F461006}"/>
          </ac:picMkLst>
        </pc:picChg>
      </pc:sldChg>
      <pc:sldChg chg="addSp delSp modSp add mod">
        <pc:chgData name="Tobias Brammer" userId="80a1e1bd-3b82-47a5-b259-da62a397db92" providerId="ADAL" clId="{008C3F84-4C29-4233-992B-2D26DEA7756B}" dt="2023-11-21T09:11:27.411" v="18020" actId="20577"/>
        <pc:sldMkLst>
          <pc:docMk/>
          <pc:sldMk cId="3084406832" sldId="350"/>
        </pc:sldMkLst>
        <pc:spChg chg="mod">
          <ac:chgData name="Tobias Brammer" userId="80a1e1bd-3b82-47a5-b259-da62a397db92" providerId="ADAL" clId="{008C3F84-4C29-4233-992B-2D26DEA7756B}" dt="2023-11-21T09:11:27.411" v="18020" actId="20577"/>
          <ac:spMkLst>
            <pc:docMk/>
            <pc:sldMk cId="3084406832" sldId="350"/>
            <ac:spMk id="8" creationId="{9974A259-DC86-27AE-073B-E1B517848965}"/>
          </ac:spMkLst>
        </pc:spChg>
        <pc:picChg chg="add del mod">
          <ac:chgData name="Tobias Brammer" userId="80a1e1bd-3b82-47a5-b259-da62a397db92" providerId="ADAL" clId="{008C3F84-4C29-4233-992B-2D26DEA7756B}" dt="2023-11-21T08:57:16.184" v="16682" actId="478"/>
          <ac:picMkLst>
            <pc:docMk/>
            <pc:sldMk cId="3084406832" sldId="350"/>
            <ac:picMk id="3" creationId="{4786AB07-2406-95EC-CCA8-9861DC776103}"/>
          </ac:picMkLst>
        </pc:picChg>
        <pc:picChg chg="add mod">
          <ac:chgData name="Tobias Brammer" userId="80a1e1bd-3b82-47a5-b259-da62a397db92" providerId="ADAL" clId="{008C3F84-4C29-4233-992B-2D26DEA7756B}" dt="2023-11-21T08:57:16.457" v="16683"/>
          <ac:picMkLst>
            <pc:docMk/>
            <pc:sldMk cId="3084406832" sldId="350"/>
            <ac:picMk id="5" creationId="{ED04EF7B-D88D-6242-1524-30BC9A659745}"/>
          </ac:picMkLst>
        </pc:picChg>
        <pc:picChg chg="mod">
          <ac:chgData name="Tobias Brammer" userId="80a1e1bd-3b82-47a5-b259-da62a397db92" providerId="ADAL" clId="{008C3F84-4C29-4233-992B-2D26DEA7756B}" dt="2023-11-21T06:58:12.040" v="239" actId="14826"/>
          <ac:picMkLst>
            <pc:docMk/>
            <pc:sldMk cId="3084406832" sldId="350"/>
            <ac:picMk id="12" creationId="{BC45735F-E063-4678-D02A-CBB56F461006}"/>
          </ac:picMkLst>
        </pc:picChg>
      </pc:sldChg>
      <pc:sldChg chg="delSp modSp add del mod">
        <pc:chgData name="Tobias Brammer" userId="80a1e1bd-3b82-47a5-b259-da62a397db92" providerId="ADAL" clId="{008C3F84-4C29-4233-992B-2D26DEA7756B}" dt="2023-11-21T07:51:52.239" v="1707" actId="47"/>
        <pc:sldMkLst>
          <pc:docMk/>
          <pc:sldMk cId="2307370957" sldId="351"/>
        </pc:sldMkLst>
        <pc:spChg chg="mod">
          <ac:chgData name="Tobias Brammer" userId="80a1e1bd-3b82-47a5-b259-da62a397db92" providerId="ADAL" clId="{008C3F84-4C29-4233-992B-2D26DEA7756B}" dt="2023-11-21T07:22:22.309" v="948" actId="948"/>
          <ac:spMkLst>
            <pc:docMk/>
            <pc:sldMk cId="2307370957" sldId="351"/>
            <ac:spMk id="2" creationId="{F7A7B11F-5560-4450-B29C-AA36EE47DBD5}"/>
          </ac:spMkLst>
        </pc:spChg>
        <pc:graphicFrameChg chg="mod">
          <ac:chgData name="Tobias Brammer" userId="80a1e1bd-3b82-47a5-b259-da62a397db92" providerId="ADAL" clId="{008C3F84-4C29-4233-992B-2D26DEA7756B}" dt="2023-11-21T07:22:22.309" v="952"/>
          <ac:graphicFrameMkLst>
            <pc:docMk/>
            <pc:sldMk cId="2307370957" sldId="351"/>
            <ac:graphicFrameMk id="4" creationId="{79C05AFC-9555-D40C-AD9D-3E13BD0A4FC2}"/>
          </ac:graphicFrameMkLst>
        </pc:graphicFrameChg>
        <pc:picChg chg="del">
          <ac:chgData name="Tobias Brammer" userId="80a1e1bd-3b82-47a5-b259-da62a397db92" providerId="ADAL" clId="{008C3F84-4C29-4233-992B-2D26DEA7756B}" dt="2023-11-21T07:22:25.173" v="953" actId="478"/>
          <ac:picMkLst>
            <pc:docMk/>
            <pc:sldMk cId="2307370957" sldId="351"/>
            <ac:picMk id="5" creationId="{61AC1B65-A75D-8FEA-A4C1-B1F7480F9899}"/>
          </ac:picMkLst>
        </pc:picChg>
      </pc:sldChg>
      <pc:sldChg chg="addSp delSp modSp add del mod ord">
        <pc:chgData name="Tobias Brammer" userId="80a1e1bd-3b82-47a5-b259-da62a397db92" providerId="ADAL" clId="{008C3F84-4C29-4233-992B-2D26DEA7756B}" dt="2023-11-21T07:44:27.544" v="1094" actId="47"/>
        <pc:sldMkLst>
          <pc:docMk/>
          <pc:sldMk cId="4049628814" sldId="352"/>
        </pc:sldMkLst>
        <pc:picChg chg="add mod modCrop">
          <ac:chgData name="Tobias Brammer" userId="80a1e1bd-3b82-47a5-b259-da62a397db92" providerId="ADAL" clId="{008C3F84-4C29-4233-992B-2D26DEA7756B}" dt="2023-11-21T07:43:02.686" v="1083" actId="1076"/>
          <ac:picMkLst>
            <pc:docMk/>
            <pc:sldMk cId="4049628814" sldId="352"/>
            <ac:picMk id="2" creationId="{FD05484F-7007-07A1-C881-7145252C063D}"/>
          </ac:picMkLst>
        </pc:picChg>
        <pc:picChg chg="del">
          <ac:chgData name="Tobias Brammer" userId="80a1e1bd-3b82-47a5-b259-da62a397db92" providerId="ADAL" clId="{008C3F84-4C29-4233-992B-2D26DEA7756B}" dt="2023-11-21T07:32:24.106" v="971" actId="478"/>
          <ac:picMkLst>
            <pc:docMk/>
            <pc:sldMk cId="4049628814" sldId="352"/>
            <ac:picMk id="12" creationId="{47664333-D894-5056-83A2-6BDBEC61091C}"/>
          </ac:picMkLst>
        </pc:picChg>
      </pc:sldChg>
      <pc:sldChg chg="addSp delSp modSp add mod">
        <pc:chgData name="Tobias Brammer" userId="80a1e1bd-3b82-47a5-b259-da62a397db92" providerId="ADAL" clId="{008C3F84-4C29-4233-992B-2D26DEA7756B}" dt="2023-11-21T07:47:44.300" v="1600" actId="20577"/>
        <pc:sldMkLst>
          <pc:docMk/>
          <pc:sldMk cId="236324760" sldId="353"/>
        </pc:sldMkLst>
        <pc:spChg chg="mod">
          <ac:chgData name="Tobias Brammer" userId="80a1e1bd-3b82-47a5-b259-da62a397db92" providerId="ADAL" clId="{008C3F84-4C29-4233-992B-2D26DEA7756B}" dt="2023-11-21T07:47:44.300" v="1600" actId="20577"/>
          <ac:spMkLst>
            <pc:docMk/>
            <pc:sldMk cId="236324760" sldId="353"/>
            <ac:spMk id="5" creationId="{0256447C-D35F-4F86-D90B-E90F6B46AE7F}"/>
          </ac:spMkLst>
        </pc:spChg>
        <pc:spChg chg="mod topLvl replST delST">
          <ac:chgData name="Tobias Brammer" userId="80a1e1bd-3b82-47a5-b259-da62a397db92" providerId="ADAL" clId="{008C3F84-4C29-4233-992B-2D26DEA7756B}" dt="2023-11-21T07:45:01.539" v="1511"/>
          <ac:spMkLst>
            <pc:docMk/>
            <pc:sldMk cId="236324760" sldId="353"/>
            <ac:spMk id="11" creationId="{E75A349B-BEFA-F923-CDDB-BC1EC01D210A}"/>
          </ac:spMkLst>
        </pc:spChg>
        <pc:spChg chg="mod topLvl replST delST">
          <ac:chgData name="Tobias Brammer" userId="80a1e1bd-3b82-47a5-b259-da62a397db92" providerId="ADAL" clId="{008C3F84-4C29-4233-992B-2D26DEA7756B}" dt="2023-11-21T07:45:01.539" v="1511"/>
          <ac:spMkLst>
            <pc:docMk/>
            <pc:sldMk cId="236324760" sldId="353"/>
            <ac:spMk id="13" creationId="{F083BAE3-7054-E71B-1705-FEE726B15371}"/>
          </ac:spMkLst>
        </pc:spChg>
        <pc:spChg chg="mod topLvl replST delST">
          <ac:chgData name="Tobias Brammer" userId="80a1e1bd-3b82-47a5-b259-da62a397db92" providerId="ADAL" clId="{008C3F84-4C29-4233-992B-2D26DEA7756B}" dt="2023-11-21T07:45:01.539" v="1511"/>
          <ac:spMkLst>
            <pc:docMk/>
            <pc:sldMk cId="236324760" sldId="353"/>
            <ac:spMk id="14" creationId="{7C8AFF31-3A7F-928C-4A98-B8E819355ED7}"/>
          </ac:spMkLst>
        </pc:spChg>
        <pc:spChg chg="mod topLvl replST delST">
          <ac:chgData name="Tobias Brammer" userId="80a1e1bd-3b82-47a5-b259-da62a397db92" providerId="ADAL" clId="{008C3F84-4C29-4233-992B-2D26DEA7756B}" dt="2023-11-21T07:45:01.539" v="1511"/>
          <ac:spMkLst>
            <pc:docMk/>
            <pc:sldMk cId="236324760" sldId="353"/>
            <ac:spMk id="15" creationId="{841E9059-931E-61E5-5A59-963A194D3FBF}"/>
          </ac:spMkLst>
        </pc:spChg>
        <pc:spChg chg="mod topLvl replST delST">
          <ac:chgData name="Tobias Brammer" userId="80a1e1bd-3b82-47a5-b259-da62a397db92" providerId="ADAL" clId="{008C3F84-4C29-4233-992B-2D26DEA7756B}" dt="2023-11-21T07:45:01.539" v="1511"/>
          <ac:spMkLst>
            <pc:docMk/>
            <pc:sldMk cId="236324760" sldId="353"/>
            <ac:spMk id="16" creationId="{B5CB25A3-0BEC-E0B1-17FD-47789E3C0918}"/>
          </ac:spMkLst>
        </pc:spChg>
        <pc:spChg chg="mod topLvl replST delST">
          <ac:chgData name="Tobias Brammer" userId="80a1e1bd-3b82-47a5-b259-da62a397db92" providerId="ADAL" clId="{008C3F84-4C29-4233-992B-2D26DEA7756B}" dt="2023-11-21T07:45:01.539" v="1511"/>
          <ac:spMkLst>
            <pc:docMk/>
            <pc:sldMk cId="236324760" sldId="353"/>
            <ac:spMk id="17" creationId="{8291B8BC-C3F3-DBEF-F9B0-5A393E41299B}"/>
          </ac:spMkLst>
        </pc:spChg>
        <pc:spChg chg="mod topLvl replST delST">
          <ac:chgData name="Tobias Brammer" userId="80a1e1bd-3b82-47a5-b259-da62a397db92" providerId="ADAL" clId="{008C3F84-4C29-4233-992B-2D26DEA7756B}" dt="2023-11-21T07:45:01.539" v="1511"/>
          <ac:spMkLst>
            <pc:docMk/>
            <pc:sldMk cId="236324760" sldId="353"/>
            <ac:spMk id="18" creationId="{1E904CFF-13F1-ADBD-5B30-924B7093BC76}"/>
          </ac:spMkLst>
        </pc:spChg>
        <pc:spChg chg="mod topLvl replST delST">
          <ac:chgData name="Tobias Brammer" userId="80a1e1bd-3b82-47a5-b259-da62a397db92" providerId="ADAL" clId="{008C3F84-4C29-4233-992B-2D26DEA7756B}" dt="2023-11-21T07:45:01.539" v="1511"/>
          <ac:spMkLst>
            <pc:docMk/>
            <pc:sldMk cId="236324760" sldId="353"/>
            <ac:spMk id="19" creationId="{F9A9DB95-D16D-6EB3-CC0E-3431B3AE5A3D}"/>
          </ac:spMkLst>
        </pc:spChg>
        <pc:spChg chg="mod topLvl replST delST">
          <ac:chgData name="Tobias Brammer" userId="80a1e1bd-3b82-47a5-b259-da62a397db92" providerId="ADAL" clId="{008C3F84-4C29-4233-992B-2D26DEA7756B}" dt="2023-11-21T07:45:01.539" v="1511"/>
          <ac:spMkLst>
            <pc:docMk/>
            <pc:sldMk cId="236324760" sldId="353"/>
            <ac:spMk id="20" creationId="{CE440282-FDC2-F958-E60B-533243AE6301}"/>
          </ac:spMkLst>
        </pc:spChg>
        <pc:spChg chg="mod topLvl replST delST">
          <ac:chgData name="Tobias Brammer" userId="80a1e1bd-3b82-47a5-b259-da62a397db92" providerId="ADAL" clId="{008C3F84-4C29-4233-992B-2D26DEA7756B}" dt="2023-11-21T07:45:01.539" v="1511"/>
          <ac:spMkLst>
            <pc:docMk/>
            <pc:sldMk cId="236324760" sldId="353"/>
            <ac:spMk id="21" creationId="{2C21B2E3-573B-C84D-40BA-3239063CDC88}"/>
          </ac:spMkLst>
        </pc:spChg>
        <pc:spChg chg="mod topLvl replST delST">
          <ac:chgData name="Tobias Brammer" userId="80a1e1bd-3b82-47a5-b259-da62a397db92" providerId="ADAL" clId="{008C3F84-4C29-4233-992B-2D26DEA7756B}" dt="2023-11-21T07:45:01.539" v="1511"/>
          <ac:spMkLst>
            <pc:docMk/>
            <pc:sldMk cId="236324760" sldId="353"/>
            <ac:spMk id="22" creationId="{AA7D4B0F-32F7-9CB2-D984-21A2EADAAC87}"/>
          </ac:spMkLst>
        </pc:spChg>
        <pc:spChg chg="mod topLvl replST delST">
          <ac:chgData name="Tobias Brammer" userId="80a1e1bd-3b82-47a5-b259-da62a397db92" providerId="ADAL" clId="{008C3F84-4C29-4233-992B-2D26DEA7756B}" dt="2023-11-21T07:45:01.539" v="1511"/>
          <ac:spMkLst>
            <pc:docMk/>
            <pc:sldMk cId="236324760" sldId="353"/>
            <ac:spMk id="23" creationId="{83071FA6-ECE8-7CA2-696B-EDE6A6B0DF86}"/>
          </ac:spMkLst>
        </pc:spChg>
        <pc:spChg chg="mod topLvl replST delST">
          <ac:chgData name="Tobias Brammer" userId="80a1e1bd-3b82-47a5-b259-da62a397db92" providerId="ADAL" clId="{008C3F84-4C29-4233-992B-2D26DEA7756B}" dt="2023-11-21T07:45:01.539" v="1511"/>
          <ac:spMkLst>
            <pc:docMk/>
            <pc:sldMk cId="236324760" sldId="353"/>
            <ac:spMk id="24" creationId="{A6912112-9AD8-5CC6-8C9F-96043F8DE333}"/>
          </ac:spMkLst>
        </pc:spChg>
        <pc:spChg chg="mod topLvl replST delST">
          <ac:chgData name="Tobias Brammer" userId="80a1e1bd-3b82-47a5-b259-da62a397db92" providerId="ADAL" clId="{008C3F84-4C29-4233-992B-2D26DEA7756B}" dt="2023-11-21T07:45:01.539" v="1511"/>
          <ac:spMkLst>
            <pc:docMk/>
            <pc:sldMk cId="236324760" sldId="353"/>
            <ac:spMk id="25" creationId="{E93099A6-08C5-EFD3-8FCD-D47E9F6ACFCE}"/>
          </ac:spMkLst>
        </pc:spChg>
        <pc:spChg chg="mod topLvl replST delST">
          <ac:chgData name="Tobias Brammer" userId="80a1e1bd-3b82-47a5-b259-da62a397db92" providerId="ADAL" clId="{008C3F84-4C29-4233-992B-2D26DEA7756B}" dt="2023-11-21T07:45:01.539" v="1511"/>
          <ac:spMkLst>
            <pc:docMk/>
            <pc:sldMk cId="236324760" sldId="353"/>
            <ac:spMk id="26" creationId="{71EE0026-66B9-FC99-9550-45444A57DD29}"/>
          </ac:spMkLst>
        </pc:spChg>
        <pc:spChg chg="mod topLvl replST delST">
          <ac:chgData name="Tobias Brammer" userId="80a1e1bd-3b82-47a5-b259-da62a397db92" providerId="ADAL" clId="{008C3F84-4C29-4233-992B-2D26DEA7756B}" dt="2023-11-21T07:45:01.539" v="1511"/>
          <ac:spMkLst>
            <pc:docMk/>
            <pc:sldMk cId="236324760" sldId="353"/>
            <ac:spMk id="27" creationId="{E88D1B0E-8025-E208-1A3F-2F1481E25A1B}"/>
          </ac:spMkLst>
        </pc:spChg>
        <pc:spChg chg="mod topLvl replST delST">
          <ac:chgData name="Tobias Brammer" userId="80a1e1bd-3b82-47a5-b259-da62a397db92" providerId="ADAL" clId="{008C3F84-4C29-4233-992B-2D26DEA7756B}" dt="2023-11-21T07:45:01.539" v="1511"/>
          <ac:spMkLst>
            <pc:docMk/>
            <pc:sldMk cId="236324760" sldId="353"/>
            <ac:spMk id="28" creationId="{F257532B-DB22-5544-5FD9-D72774C8CE41}"/>
          </ac:spMkLst>
        </pc:spChg>
        <pc:spChg chg="mod topLvl replST delST">
          <ac:chgData name="Tobias Brammer" userId="80a1e1bd-3b82-47a5-b259-da62a397db92" providerId="ADAL" clId="{008C3F84-4C29-4233-992B-2D26DEA7756B}" dt="2023-11-21T07:45:01.539" v="1511"/>
          <ac:spMkLst>
            <pc:docMk/>
            <pc:sldMk cId="236324760" sldId="353"/>
            <ac:spMk id="29" creationId="{3FA4F551-A84A-E4A2-995F-F308FC863A49}"/>
          </ac:spMkLst>
        </pc:spChg>
        <pc:spChg chg="mod topLvl replST delST">
          <ac:chgData name="Tobias Brammer" userId="80a1e1bd-3b82-47a5-b259-da62a397db92" providerId="ADAL" clId="{008C3F84-4C29-4233-992B-2D26DEA7756B}" dt="2023-11-21T07:45:01.539" v="1511"/>
          <ac:spMkLst>
            <pc:docMk/>
            <pc:sldMk cId="236324760" sldId="353"/>
            <ac:spMk id="30" creationId="{DCD22FBB-78E8-B30D-CA8C-12E86855B781}"/>
          </ac:spMkLst>
        </pc:spChg>
        <pc:spChg chg="mod topLvl replST delST">
          <ac:chgData name="Tobias Brammer" userId="80a1e1bd-3b82-47a5-b259-da62a397db92" providerId="ADAL" clId="{008C3F84-4C29-4233-992B-2D26DEA7756B}" dt="2023-11-21T07:45:01.539" v="1511"/>
          <ac:spMkLst>
            <pc:docMk/>
            <pc:sldMk cId="236324760" sldId="353"/>
            <ac:spMk id="31" creationId="{07F2F1CC-E570-55B4-4536-16C422DC146B}"/>
          </ac:spMkLst>
        </pc:spChg>
        <pc:spChg chg="mod topLvl replST delST">
          <ac:chgData name="Tobias Brammer" userId="80a1e1bd-3b82-47a5-b259-da62a397db92" providerId="ADAL" clId="{008C3F84-4C29-4233-992B-2D26DEA7756B}" dt="2023-11-21T07:45:01.539" v="1511"/>
          <ac:spMkLst>
            <pc:docMk/>
            <pc:sldMk cId="236324760" sldId="353"/>
            <ac:spMk id="32" creationId="{9DA551CB-FD7E-7571-FD58-6F2B802F9D84}"/>
          </ac:spMkLst>
        </pc:spChg>
        <pc:spChg chg="mod topLvl replST delST">
          <ac:chgData name="Tobias Brammer" userId="80a1e1bd-3b82-47a5-b259-da62a397db92" providerId="ADAL" clId="{008C3F84-4C29-4233-992B-2D26DEA7756B}" dt="2023-11-21T07:45:01.539" v="1511"/>
          <ac:spMkLst>
            <pc:docMk/>
            <pc:sldMk cId="236324760" sldId="353"/>
            <ac:spMk id="33" creationId="{CEE98706-055B-B0A5-2A78-68149D35620F}"/>
          </ac:spMkLst>
        </pc:spChg>
        <pc:spChg chg="mod topLvl replST delST">
          <ac:chgData name="Tobias Brammer" userId="80a1e1bd-3b82-47a5-b259-da62a397db92" providerId="ADAL" clId="{008C3F84-4C29-4233-992B-2D26DEA7756B}" dt="2023-11-21T07:45:01.539" v="1511"/>
          <ac:spMkLst>
            <pc:docMk/>
            <pc:sldMk cId="236324760" sldId="353"/>
            <ac:spMk id="34" creationId="{8A2FDE10-6133-651B-3CA7-B89B06BDADA2}"/>
          </ac:spMkLst>
        </pc:spChg>
        <pc:spChg chg="mod topLvl replST delST">
          <ac:chgData name="Tobias Brammer" userId="80a1e1bd-3b82-47a5-b259-da62a397db92" providerId="ADAL" clId="{008C3F84-4C29-4233-992B-2D26DEA7756B}" dt="2023-11-21T07:45:01.539" v="1511"/>
          <ac:spMkLst>
            <pc:docMk/>
            <pc:sldMk cId="236324760" sldId="353"/>
            <ac:spMk id="35" creationId="{C94DD82D-CBE6-1849-B727-A1E70A280C5D}"/>
          </ac:spMkLst>
        </pc:spChg>
        <pc:spChg chg="mod topLvl replST delST">
          <ac:chgData name="Tobias Brammer" userId="80a1e1bd-3b82-47a5-b259-da62a397db92" providerId="ADAL" clId="{008C3F84-4C29-4233-992B-2D26DEA7756B}" dt="2023-11-21T07:45:01.539" v="1511"/>
          <ac:spMkLst>
            <pc:docMk/>
            <pc:sldMk cId="236324760" sldId="353"/>
            <ac:spMk id="36" creationId="{AD96137E-5945-675A-4F41-1E174E7BCA4C}"/>
          </ac:spMkLst>
        </pc:spChg>
        <pc:spChg chg="mod topLvl replST delST">
          <ac:chgData name="Tobias Brammer" userId="80a1e1bd-3b82-47a5-b259-da62a397db92" providerId="ADAL" clId="{008C3F84-4C29-4233-992B-2D26DEA7756B}" dt="2023-11-21T07:45:01.539" v="1511"/>
          <ac:spMkLst>
            <pc:docMk/>
            <pc:sldMk cId="236324760" sldId="353"/>
            <ac:spMk id="37" creationId="{1B30816E-0A49-438C-D044-A8E6A95E9507}"/>
          </ac:spMkLst>
        </pc:spChg>
        <pc:spChg chg="mod topLvl replST delST">
          <ac:chgData name="Tobias Brammer" userId="80a1e1bd-3b82-47a5-b259-da62a397db92" providerId="ADAL" clId="{008C3F84-4C29-4233-992B-2D26DEA7756B}" dt="2023-11-21T07:45:01.539" v="1511"/>
          <ac:spMkLst>
            <pc:docMk/>
            <pc:sldMk cId="236324760" sldId="353"/>
            <ac:spMk id="38" creationId="{1E7BE3C1-98F9-A2ED-757F-AA62314F3862}"/>
          </ac:spMkLst>
        </pc:spChg>
        <pc:spChg chg="mod topLvl replST delST">
          <ac:chgData name="Tobias Brammer" userId="80a1e1bd-3b82-47a5-b259-da62a397db92" providerId="ADAL" clId="{008C3F84-4C29-4233-992B-2D26DEA7756B}" dt="2023-11-21T07:45:01.539" v="1511"/>
          <ac:spMkLst>
            <pc:docMk/>
            <pc:sldMk cId="236324760" sldId="353"/>
            <ac:spMk id="39" creationId="{80B26356-E2F0-77DC-15E9-F6EE94CC1A1E}"/>
          </ac:spMkLst>
        </pc:spChg>
        <pc:spChg chg="mod topLvl replST delST">
          <ac:chgData name="Tobias Brammer" userId="80a1e1bd-3b82-47a5-b259-da62a397db92" providerId="ADAL" clId="{008C3F84-4C29-4233-992B-2D26DEA7756B}" dt="2023-11-21T07:45:01.539" v="1511"/>
          <ac:spMkLst>
            <pc:docMk/>
            <pc:sldMk cId="236324760" sldId="353"/>
            <ac:spMk id="40" creationId="{165FAED9-4884-455B-6E68-3F624C8D813D}"/>
          </ac:spMkLst>
        </pc:spChg>
        <pc:spChg chg="mod topLvl replST delST">
          <ac:chgData name="Tobias Brammer" userId="80a1e1bd-3b82-47a5-b259-da62a397db92" providerId="ADAL" clId="{008C3F84-4C29-4233-992B-2D26DEA7756B}" dt="2023-11-21T07:45:01.539" v="1511"/>
          <ac:spMkLst>
            <pc:docMk/>
            <pc:sldMk cId="236324760" sldId="353"/>
            <ac:spMk id="41" creationId="{D3C53039-CE7F-DAA3-FBB9-74B214C87B81}"/>
          </ac:spMkLst>
        </pc:spChg>
        <pc:spChg chg="mod topLvl replST delST">
          <ac:chgData name="Tobias Brammer" userId="80a1e1bd-3b82-47a5-b259-da62a397db92" providerId="ADAL" clId="{008C3F84-4C29-4233-992B-2D26DEA7756B}" dt="2023-11-21T07:45:01.539" v="1511"/>
          <ac:spMkLst>
            <pc:docMk/>
            <pc:sldMk cId="236324760" sldId="353"/>
            <ac:spMk id="42" creationId="{A7E4B33C-E482-90F8-E429-6554DDFF9DD9}"/>
          </ac:spMkLst>
        </pc:spChg>
        <pc:spChg chg="mod topLvl replST delST">
          <ac:chgData name="Tobias Brammer" userId="80a1e1bd-3b82-47a5-b259-da62a397db92" providerId="ADAL" clId="{008C3F84-4C29-4233-992B-2D26DEA7756B}" dt="2023-11-21T07:45:01.539" v="1511"/>
          <ac:spMkLst>
            <pc:docMk/>
            <pc:sldMk cId="236324760" sldId="353"/>
            <ac:spMk id="43" creationId="{A5350E24-21EA-A61E-C07E-C2AE44EA0059}"/>
          </ac:spMkLst>
        </pc:spChg>
        <pc:spChg chg="mod topLvl replST delST">
          <ac:chgData name="Tobias Brammer" userId="80a1e1bd-3b82-47a5-b259-da62a397db92" providerId="ADAL" clId="{008C3F84-4C29-4233-992B-2D26DEA7756B}" dt="2023-11-21T07:45:01.539" v="1511"/>
          <ac:spMkLst>
            <pc:docMk/>
            <pc:sldMk cId="236324760" sldId="353"/>
            <ac:spMk id="44" creationId="{F3F963A0-D809-7675-53D5-124B4156751E}"/>
          </ac:spMkLst>
        </pc:spChg>
        <pc:spChg chg="mod topLvl replST delST">
          <ac:chgData name="Tobias Brammer" userId="80a1e1bd-3b82-47a5-b259-da62a397db92" providerId="ADAL" clId="{008C3F84-4C29-4233-992B-2D26DEA7756B}" dt="2023-11-21T07:45:01.539" v="1511"/>
          <ac:spMkLst>
            <pc:docMk/>
            <pc:sldMk cId="236324760" sldId="353"/>
            <ac:spMk id="45" creationId="{5C84FCD9-9A61-96FF-22C0-03702C85E529}"/>
          </ac:spMkLst>
        </pc:spChg>
        <pc:spChg chg="mod topLvl replST delST">
          <ac:chgData name="Tobias Brammer" userId="80a1e1bd-3b82-47a5-b259-da62a397db92" providerId="ADAL" clId="{008C3F84-4C29-4233-992B-2D26DEA7756B}" dt="2023-11-21T07:45:01.539" v="1511"/>
          <ac:spMkLst>
            <pc:docMk/>
            <pc:sldMk cId="236324760" sldId="353"/>
            <ac:spMk id="46" creationId="{6416EF84-6D91-9532-88AC-5B9D38E7E62D}"/>
          </ac:spMkLst>
        </pc:spChg>
        <pc:spChg chg="mod topLvl replST delST">
          <ac:chgData name="Tobias Brammer" userId="80a1e1bd-3b82-47a5-b259-da62a397db92" providerId="ADAL" clId="{008C3F84-4C29-4233-992B-2D26DEA7756B}" dt="2023-11-21T07:45:01.539" v="1511"/>
          <ac:spMkLst>
            <pc:docMk/>
            <pc:sldMk cId="236324760" sldId="353"/>
            <ac:spMk id="47" creationId="{51F9AF31-DE98-2832-2A05-BD8C16DE2605}"/>
          </ac:spMkLst>
        </pc:spChg>
        <pc:spChg chg="mod topLvl replST delST">
          <ac:chgData name="Tobias Brammer" userId="80a1e1bd-3b82-47a5-b259-da62a397db92" providerId="ADAL" clId="{008C3F84-4C29-4233-992B-2D26DEA7756B}" dt="2023-11-21T07:45:01.539" v="1511"/>
          <ac:spMkLst>
            <pc:docMk/>
            <pc:sldMk cId="236324760" sldId="353"/>
            <ac:spMk id="48" creationId="{8BC10F55-10E1-C2C8-E874-012848549C6F}"/>
          </ac:spMkLst>
        </pc:spChg>
        <pc:spChg chg="mod topLvl replST delST">
          <ac:chgData name="Tobias Brammer" userId="80a1e1bd-3b82-47a5-b259-da62a397db92" providerId="ADAL" clId="{008C3F84-4C29-4233-992B-2D26DEA7756B}" dt="2023-11-21T07:45:01.539" v="1511"/>
          <ac:spMkLst>
            <pc:docMk/>
            <pc:sldMk cId="236324760" sldId="353"/>
            <ac:spMk id="49" creationId="{176CFECB-882E-03C4-4C9E-8AD439554AC8}"/>
          </ac:spMkLst>
        </pc:spChg>
        <pc:spChg chg="mod topLvl replST delST">
          <ac:chgData name="Tobias Brammer" userId="80a1e1bd-3b82-47a5-b259-da62a397db92" providerId="ADAL" clId="{008C3F84-4C29-4233-992B-2D26DEA7756B}" dt="2023-11-21T07:45:01.539" v="1511"/>
          <ac:spMkLst>
            <pc:docMk/>
            <pc:sldMk cId="236324760" sldId="353"/>
            <ac:spMk id="50" creationId="{EAF12946-546B-5CD1-9FD7-6304B21B2C3D}"/>
          </ac:spMkLst>
        </pc:spChg>
        <pc:spChg chg="mod topLvl replST delST">
          <ac:chgData name="Tobias Brammer" userId="80a1e1bd-3b82-47a5-b259-da62a397db92" providerId="ADAL" clId="{008C3F84-4C29-4233-992B-2D26DEA7756B}" dt="2023-11-21T07:45:01.539" v="1511"/>
          <ac:spMkLst>
            <pc:docMk/>
            <pc:sldMk cId="236324760" sldId="353"/>
            <ac:spMk id="51" creationId="{E46A4935-15DC-CF61-5FC6-64D51C06A663}"/>
          </ac:spMkLst>
        </pc:spChg>
        <pc:spChg chg="mod topLvl replST delST">
          <ac:chgData name="Tobias Brammer" userId="80a1e1bd-3b82-47a5-b259-da62a397db92" providerId="ADAL" clId="{008C3F84-4C29-4233-992B-2D26DEA7756B}" dt="2023-11-21T07:45:01.539" v="1511"/>
          <ac:spMkLst>
            <pc:docMk/>
            <pc:sldMk cId="236324760" sldId="353"/>
            <ac:spMk id="52" creationId="{D2A386BE-090B-E530-7BF3-892ED85B520B}"/>
          </ac:spMkLst>
        </pc:spChg>
        <pc:spChg chg="mod topLvl replST delST">
          <ac:chgData name="Tobias Brammer" userId="80a1e1bd-3b82-47a5-b259-da62a397db92" providerId="ADAL" clId="{008C3F84-4C29-4233-992B-2D26DEA7756B}" dt="2023-11-21T07:45:01.539" v="1511"/>
          <ac:spMkLst>
            <pc:docMk/>
            <pc:sldMk cId="236324760" sldId="353"/>
            <ac:spMk id="53" creationId="{9C2EDE0E-7948-0EFD-B52C-16524DF8D33B}"/>
          </ac:spMkLst>
        </pc:spChg>
        <pc:spChg chg="mod topLvl replST delST">
          <ac:chgData name="Tobias Brammer" userId="80a1e1bd-3b82-47a5-b259-da62a397db92" providerId="ADAL" clId="{008C3F84-4C29-4233-992B-2D26DEA7756B}" dt="2023-11-21T07:45:01.539" v="1511"/>
          <ac:spMkLst>
            <pc:docMk/>
            <pc:sldMk cId="236324760" sldId="353"/>
            <ac:spMk id="54" creationId="{FCD0BDF8-90DA-5BF3-D891-FF3957628F82}"/>
          </ac:spMkLst>
        </pc:spChg>
        <pc:spChg chg="mod topLvl replST delST">
          <ac:chgData name="Tobias Brammer" userId="80a1e1bd-3b82-47a5-b259-da62a397db92" providerId="ADAL" clId="{008C3F84-4C29-4233-992B-2D26DEA7756B}" dt="2023-11-21T07:45:01.539" v="1511"/>
          <ac:spMkLst>
            <pc:docMk/>
            <pc:sldMk cId="236324760" sldId="353"/>
            <ac:spMk id="55" creationId="{5B12530B-C7F5-AF2D-BC22-A7317929357B}"/>
          </ac:spMkLst>
        </pc:spChg>
        <pc:spChg chg="mod topLvl replST delST">
          <ac:chgData name="Tobias Brammer" userId="80a1e1bd-3b82-47a5-b259-da62a397db92" providerId="ADAL" clId="{008C3F84-4C29-4233-992B-2D26DEA7756B}" dt="2023-11-21T07:45:01.539" v="1511"/>
          <ac:spMkLst>
            <pc:docMk/>
            <pc:sldMk cId="236324760" sldId="353"/>
            <ac:spMk id="56" creationId="{EC3EFC7E-FB1F-9EAA-90A5-36F0004BA4D3}"/>
          </ac:spMkLst>
        </pc:spChg>
        <pc:spChg chg="mod topLvl replST delST">
          <ac:chgData name="Tobias Brammer" userId="80a1e1bd-3b82-47a5-b259-da62a397db92" providerId="ADAL" clId="{008C3F84-4C29-4233-992B-2D26DEA7756B}" dt="2023-11-21T07:45:01.539" v="1511"/>
          <ac:spMkLst>
            <pc:docMk/>
            <pc:sldMk cId="236324760" sldId="353"/>
            <ac:spMk id="57" creationId="{2F523854-4E33-DF48-35CB-7BF6794D4AED}"/>
          </ac:spMkLst>
        </pc:spChg>
        <pc:spChg chg="mod topLvl replST delST">
          <ac:chgData name="Tobias Brammer" userId="80a1e1bd-3b82-47a5-b259-da62a397db92" providerId="ADAL" clId="{008C3F84-4C29-4233-992B-2D26DEA7756B}" dt="2023-11-21T07:45:01.539" v="1511"/>
          <ac:spMkLst>
            <pc:docMk/>
            <pc:sldMk cId="236324760" sldId="353"/>
            <ac:spMk id="58" creationId="{7630861E-6EB0-0A49-5D4B-7FDDB5E17DAA}"/>
          </ac:spMkLst>
        </pc:spChg>
        <pc:spChg chg="mod topLvl replST delST">
          <ac:chgData name="Tobias Brammer" userId="80a1e1bd-3b82-47a5-b259-da62a397db92" providerId="ADAL" clId="{008C3F84-4C29-4233-992B-2D26DEA7756B}" dt="2023-11-21T07:45:01.539" v="1511"/>
          <ac:spMkLst>
            <pc:docMk/>
            <pc:sldMk cId="236324760" sldId="353"/>
            <ac:spMk id="59" creationId="{B1650874-73BD-7CDE-8B5E-25CC98469081}"/>
          </ac:spMkLst>
        </pc:spChg>
        <pc:spChg chg="mod topLvl replST delST">
          <ac:chgData name="Tobias Brammer" userId="80a1e1bd-3b82-47a5-b259-da62a397db92" providerId="ADAL" clId="{008C3F84-4C29-4233-992B-2D26DEA7756B}" dt="2023-11-21T07:45:01.539" v="1511"/>
          <ac:spMkLst>
            <pc:docMk/>
            <pc:sldMk cId="236324760" sldId="353"/>
            <ac:spMk id="60" creationId="{C773CBE9-9F40-2479-3FF5-3F86BD73BBC3}"/>
          </ac:spMkLst>
        </pc:spChg>
        <pc:spChg chg="mod topLvl replST delST">
          <ac:chgData name="Tobias Brammer" userId="80a1e1bd-3b82-47a5-b259-da62a397db92" providerId="ADAL" clId="{008C3F84-4C29-4233-992B-2D26DEA7756B}" dt="2023-11-21T07:45:01.539" v="1511"/>
          <ac:spMkLst>
            <pc:docMk/>
            <pc:sldMk cId="236324760" sldId="353"/>
            <ac:spMk id="61" creationId="{0A7C6ABE-0FEA-E4AF-E49D-D0499100C248}"/>
          </ac:spMkLst>
        </pc:spChg>
        <pc:spChg chg="mod topLvl replST delST">
          <ac:chgData name="Tobias Brammer" userId="80a1e1bd-3b82-47a5-b259-da62a397db92" providerId="ADAL" clId="{008C3F84-4C29-4233-992B-2D26DEA7756B}" dt="2023-11-21T07:45:01.539" v="1511"/>
          <ac:spMkLst>
            <pc:docMk/>
            <pc:sldMk cId="236324760" sldId="353"/>
            <ac:spMk id="62" creationId="{569BE62D-5B88-A9EA-7422-65C916C6F179}"/>
          </ac:spMkLst>
        </pc:spChg>
        <pc:spChg chg="mod topLvl replST delST">
          <ac:chgData name="Tobias Brammer" userId="80a1e1bd-3b82-47a5-b259-da62a397db92" providerId="ADAL" clId="{008C3F84-4C29-4233-992B-2D26DEA7756B}" dt="2023-11-21T07:45:01.539" v="1511"/>
          <ac:spMkLst>
            <pc:docMk/>
            <pc:sldMk cId="236324760" sldId="353"/>
            <ac:spMk id="63" creationId="{425DB4FE-6D5E-FD60-EA07-77234AA2AD74}"/>
          </ac:spMkLst>
        </pc:spChg>
        <pc:spChg chg="add del mod">
          <ac:chgData name="Tobias Brammer" userId="80a1e1bd-3b82-47a5-b259-da62a397db92" providerId="ADAL" clId="{008C3F84-4C29-4233-992B-2D26DEA7756B}" dt="2023-11-21T07:45:25.512" v="1523"/>
          <ac:spMkLst>
            <pc:docMk/>
            <pc:sldMk cId="236324760" sldId="353"/>
            <ac:spMk id="65" creationId="{2690EBFF-3929-4815-1A63-9311F86E0A05}"/>
          </ac:spMkLst>
        </pc:spChg>
        <pc:spChg chg="add mod">
          <ac:chgData name="Tobias Brammer" userId="80a1e1bd-3b82-47a5-b259-da62a397db92" providerId="ADAL" clId="{008C3F84-4C29-4233-992B-2D26DEA7756B}" dt="2023-11-21T07:47:28.589" v="1594" actId="122"/>
          <ac:spMkLst>
            <pc:docMk/>
            <pc:sldMk cId="236324760" sldId="353"/>
            <ac:spMk id="66" creationId="{DFD66FED-E94F-1077-8FDD-14696035ECE6}"/>
          </ac:spMkLst>
        </pc:spChg>
        <pc:grpChg chg="add del mod">
          <ac:chgData name="Tobias Brammer" userId="80a1e1bd-3b82-47a5-b259-da62a397db92" providerId="ADAL" clId="{008C3F84-4C29-4233-992B-2D26DEA7756B}" dt="2023-11-21T07:45:01.539" v="1511"/>
          <ac:grpSpMkLst>
            <pc:docMk/>
            <pc:sldMk cId="236324760" sldId="353"/>
            <ac:grpSpMk id="7" creationId="{D4AE32C1-9ED3-912C-DA17-04BFB5C795A5}"/>
          </ac:grpSpMkLst>
        </pc:grpChg>
        <pc:grpChg chg="add del mod topLvl">
          <ac:chgData name="Tobias Brammer" userId="80a1e1bd-3b82-47a5-b259-da62a397db92" providerId="ADAL" clId="{008C3F84-4C29-4233-992B-2D26DEA7756B}" dt="2023-11-21T07:45:01.539" v="1511"/>
          <ac:grpSpMkLst>
            <pc:docMk/>
            <pc:sldMk cId="236324760" sldId="353"/>
            <ac:grpSpMk id="8" creationId="{37D972C1-0BBA-5F64-56E3-A9D4E83B761F}"/>
          </ac:grpSpMkLst>
        </pc:grpChg>
        <pc:grpChg chg="add mod ord replST delST">
          <ac:chgData name="Tobias Brammer" userId="80a1e1bd-3b82-47a5-b259-da62a397db92" providerId="ADAL" clId="{008C3F84-4C29-4233-992B-2D26DEA7756B}" dt="2023-11-21T07:45:01.539" v="1511"/>
          <ac:grpSpMkLst>
            <pc:docMk/>
            <pc:sldMk cId="236324760" sldId="353"/>
            <ac:grpSpMk id="64" creationId="{C87B7B02-4F59-740F-3600-9E46C9B01F42}"/>
          </ac:grpSpMkLst>
        </pc:grpChg>
        <pc:picChg chg="add del mod">
          <ac:chgData name="Tobias Brammer" userId="80a1e1bd-3b82-47a5-b259-da62a397db92" providerId="ADAL" clId="{008C3F84-4C29-4233-992B-2D26DEA7756B}" dt="2023-11-21T07:45:04.508" v="1519"/>
          <ac:picMkLst>
            <pc:docMk/>
            <pc:sldMk cId="236324760" sldId="353"/>
            <ac:picMk id="2" creationId="{E7931504-6F19-A673-A4F1-78E07F1358A8}"/>
          </ac:picMkLst>
        </pc:picChg>
        <pc:picChg chg="add del mod">
          <ac:chgData name="Tobias Brammer" userId="80a1e1bd-3b82-47a5-b259-da62a397db92" providerId="ADAL" clId="{008C3F84-4C29-4233-992B-2D26DEA7756B}" dt="2023-11-21T07:45:04.508" v="1519"/>
          <ac:picMkLst>
            <pc:docMk/>
            <pc:sldMk cId="236324760" sldId="353"/>
            <ac:picMk id="6" creationId="{6EF4D669-040A-6F89-6B34-3C3C653FF370}"/>
          </ac:picMkLst>
        </pc:picChg>
        <pc:picChg chg="del">
          <ac:chgData name="Tobias Brammer" userId="80a1e1bd-3b82-47a5-b259-da62a397db92" providerId="ADAL" clId="{008C3F84-4C29-4233-992B-2D26DEA7756B}" dt="2023-11-21T07:44:10.857" v="1091" actId="478"/>
          <ac:picMkLst>
            <pc:docMk/>
            <pc:sldMk cId="236324760" sldId="353"/>
            <ac:picMk id="12" creationId="{47664333-D894-5056-83A2-6BDBEC61091C}"/>
          </ac:picMkLst>
        </pc:picChg>
      </pc:sldChg>
      <pc:sldChg chg="addSp delSp modSp add mod">
        <pc:chgData name="Tobias Brammer" userId="80a1e1bd-3b82-47a5-b259-da62a397db92" providerId="ADAL" clId="{008C3F84-4C29-4233-992B-2D26DEA7756B}" dt="2023-11-21T07:50:43.679" v="1705" actId="790"/>
        <pc:sldMkLst>
          <pc:docMk/>
          <pc:sldMk cId="1664088353" sldId="354"/>
        </pc:sldMkLst>
        <pc:spChg chg="add mod">
          <ac:chgData name="Tobias Brammer" userId="80a1e1bd-3b82-47a5-b259-da62a397db92" providerId="ADAL" clId="{008C3F84-4C29-4233-992B-2D26DEA7756B}" dt="2023-11-21T07:50:43.679" v="1705" actId="790"/>
          <ac:spMkLst>
            <pc:docMk/>
            <pc:sldMk cId="1664088353" sldId="354"/>
            <ac:spMk id="6" creationId="{DBC175E1-CAC5-9F96-B54C-DE5DC9D975AA}"/>
          </ac:spMkLst>
        </pc:spChg>
        <pc:spChg chg="add del">
          <ac:chgData name="Tobias Brammer" userId="80a1e1bd-3b82-47a5-b259-da62a397db92" providerId="ADAL" clId="{008C3F84-4C29-4233-992B-2D26DEA7756B}" dt="2023-11-21T07:49:27.375" v="1618" actId="478"/>
          <ac:spMkLst>
            <pc:docMk/>
            <pc:sldMk cId="1664088353" sldId="354"/>
            <ac:spMk id="66" creationId="{DFD66FED-E94F-1077-8FDD-14696035ECE6}"/>
          </ac:spMkLst>
        </pc:spChg>
        <pc:picChg chg="add del mod modCrop">
          <ac:chgData name="Tobias Brammer" userId="80a1e1bd-3b82-47a5-b259-da62a397db92" providerId="ADAL" clId="{008C3F84-4C29-4233-992B-2D26DEA7756B}" dt="2023-11-21T07:49:23.969" v="1617" actId="478"/>
          <ac:picMkLst>
            <pc:docMk/>
            <pc:sldMk cId="1664088353" sldId="354"/>
            <ac:picMk id="2" creationId="{E7931504-6F19-A673-A4F1-78E07F1358A8}"/>
          </ac:picMkLst>
        </pc:picChg>
        <pc:picChg chg="add mod">
          <ac:chgData name="Tobias Brammer" userId="80a1e1bd-3b82-47a5-b259-da62a397db92" providerId="ADAL" clId="{008C3F84-4C29-4233-992B-2D26DEA7756B}" dt="2023-11-21T07:49:53.274" v="1624" actId="1076"/>
          <ac:picMkLst>
            <pc:docMk/>
            <pc:sldMk cId="1664088353" sldId="354"/>
            <ac:picMk id="3" creationId="{E2140EE9-63A9-D47F-489B-3B1D5713121C}"/>
          </ac:picMkLst>
        </pc:picChg>
      </pc:sldChg>
      <pc:sldChg chg="modSp add mod">
        <pc:chgData name="Tobias Brammer" userId="80a1e1bd-3b82-47a5-b259-da62a397db92" providerId="ADAL" clId="{008C3F84-4C29-4233-992B-2D26DEA7756B}" dt="2023-11-21T07:56:11.034" v="2341" actId="20577"/>
        <pc:sldMkLst>
          <pc:docMk/>
          <pc:sldMk cId="431596050" sldId="355"/>
        </pc:sldMkLst>
        <pc:spChg chg="mod">
          <ac:chgData name="Tobias Brammer" userId="80a1e1bd-3b82-47a5-b259-da62a397db92" providerId="ADAL" clId="{008C3F84-4C29-4233-992B-2D26DEA7756B}" dt="2023-11-21T07:56:11.034" v="2341" actId="20577"/>
          <ac:spMkLst>
            <pc:docMk/>
            <pc:sldMk cId="431596050" sldId="355"/>
            <ac:spMk id="8" creationId="{9974A259-DC86-27AE-073B-E1B517848965}"/>
          </ac:spMkLst>
        </pc:spChg>
        <pc:picChg chg="mod">
          <ac:chgData name="Tobias Brammer" userId="80a1e1bd-3b82-47a5-b259-da62a397db92" providerId="ADAL" clId="{008C3F84-4C29-4233-992B-2D26DEA7756B}" dt="2023-11-21T07:52:04.324" v="1708" actId="14826"/>
          <ac:picMkLst>
            <pc:docMk/>
            <pc:sldMk cId="431596050" sldId="355"/>
            <ac:picMk id="12" creationId="{BC45735F-E063-4678-D02A-CBB56F461006}"/>
          </ac:picMkLst>
        </pc:picChg>
      </pc:sldChg>
      <pc:sldChg chg="add del">
        <pc:chgData name="Tobias Brammer" userId="80a1e1bd-3b82-47a5-b259-da62a397db92" providerId="ADAL" clId="{008C3F84-4C29-4233-992B-2D26DEA7756B}" dt="2023-11-21T07:49:00.632" v="1612"/>
        <pc:sldMkLst>
          <pc:docMk/>
          <pc:sldMk cId="2668679006" sldId="355"/>
        </pc:sldMkLst>
      </pc:sldChg>
      <pc:sldChg chg="modSp add mod">
        <pc:chgData name="Tobias Brammer" userId="80a1e1bd-3b82-47a5-b259-da62a397db92" providerId="ADAL" clId="{008C3F84-4C29-4233-992B-2D26DEA7756B}" dt="2023-11-21T07:59:26.786" v="2883" actId="20577"/>
        <pc:sldMkLst>
          <pc:docMk/>
          <pc:sldMk cId="1813874649" sldId="356"/>
        </pc:sldMkLst>
        <pc:spChg chg="mod">
          <ac:chgData name="Tobias Brammer" userId="80a1e1bd-3b82-47a5-b259-da62a397db92" providerId="ADAL" clId="{008C3F84-4C29-4233-992B-2D26DEA7756B}" dt="2023-11-21T07:59:26.786" v="2883" actId="20577"/>
          <ac:spMkLst>
            <pc:docMk/>
            <pc:sldMk cId="1813874649" sldId="356"/>
            <ac:spMk id="8" creationId="{9974A259-DC86-27AE-073B-E1B517848965}"/>
          </ac:spMkLst>
        </pc:spChg>
        <pc:picChg chg="mod">
          <ac:chgData name="Tobias Brammer" userId="80a1e1bd-3b82-47a5-b259-da62a397db92" providerId="ADAL" clId="{008C3F84-4C29-4233-992B-2D26DEA7756B}" dt="2023-11-21T07:56:29.196" v="2343" actId="14826"/>
          <ac:picMkLst>
            <pc:docMk/>
            <pc:sldMk cId="1813874649" sldId="356"/>
            <ac:picMk id="12" creationId="{BC45735F-E063-4678-D02A-CBB56F461006}"/>
          </ac:picMkLst>
        </pc:picChg>
      </pc:sldChg>
      <pc:sldChg chg="add">
        <pc:chgData name="Tobias Brammer" userId="80a1e1bd-3b82-47a5-b259-da62a397db92" providerId="ADAL" clId="{008C3F84-4C29-4233-992B-2D26DEA7756B}" dt="2023-11-21T08:19:48.280" v="3547"/>
        <pc:sldMkLst>
          <pc:docMk/>
          <pc:sldMk cId="1375076133" sldId="357"/>
        </pc:sldMkLst>
      </pc:sldChg>
      <pc:sldChg chg="modSp add del mod ord modTransition modShow modNotesTx">
        <pc:chgData name="Tobias Brammer" userId="80a1e1bd-3b82-47a5-b259-da62a397db92" providerId="ADAL" clId="{008C3F84-4C29-4233-992B-2D26DEA7756B}" dt="2023-11-21T08:19:45.613" v="3546" actId="2696"/>
        <pc:sldMkLst>
          <pc:docMk/>
          <pc:sldMk cId="2594265484" sldId="357"/>
        </pc:sldMkLst>
        <pc:spChg chg="mod">
          <ac:chgData name="Tobias Brammer" userId="80a1e1bd-3b82-47a5-b259-da62a397db92" providerId="ADAL" clId="{008C3F84-4C29-4233-992B-2D26DEA7756B}" dt="2023-11-21T08:04:23.404" v="3253" actId="948"/>
          <ac:spMkLst>
            <pc:docMk/>
            <pc:sldMk cId="2594265484" sldId="357"/>
            <ac:spMk id="2" creationId="{F7A7B11F-5560-4450-B29C-AA36EE47DBD5}"/>
          </ac:spMkLst>
        </pc:spChg>
        <pc:spChg chg="mod">
          <ac:chgData name="Tobias Brammer" userId="80a1e1bd-3b82-47a5-b259-da62a397db92" providerId="ADAL" clId="{008C3F84-4C29-4233-992B-2D26DEA7756B}" dt="2023-11-21T08:08:20.774" v="3311" actId="404"/>
          <ac:spMkLst>
            <pc:docMk/>
            <pc:sldMk cId="2594265484" sldId="357"/>
            <ac:spMk id="10" creationId="{6123F9E9-4EDA-8639-0B90-4D3A855C3D7A}"/>
          </ac:spMkLst>
        </pc:spChg>
        <pc:graphicFrameChg chg="mod">
          <ac:chgData name="Tobias Brammer" userId="80a1e1bd-3b82-47a5-b259-da62a397db92" providerId="ADAL" clId="{008C3F84-4C29-4233-992B-2D26DEA7756B}" dt="2023-11-21T08:04:23.409" v="3257"/>
          <ac:graphicFrameMkLst>
            <pc:docMk/>
            <pc:sldMk cId="2594265484" sldId="357"/>
            <ac:graphicFrameMk id="4" creationId="{79C05AFC-9555-D40C-AD9D-3E13BD0A4FC2}"/>
          </ac:graphicFrameMkLst>
        </pc:graphicFrameChg>
      </pc:sldChg>
      <pc:sldChg chg="modSp add mod modTransition modShow modNotesTx">
        <pc:chgData name="Tobias Brammer" userId="80a1e1bd-3b82-47a5-b259-da62a397db92" providerId="ADAL" clId="{008C3F84-4C29-4233-992B-2D26DEA7756B}" dt="2023-11-21T08:08:42.097" v="3313"/>
        <pc:sldMkLst>
          <pc:docMk/>
          <pc:sldMk cId="1846737171" sldId="358"/>
        </pc:sldMkLst>
        <pc:spChg chg="mod">
          <ac:chgData name="Tobias Brammer" userId="80a1e1bd-3b82-47a5-b259-da62a397db92" providerId="ADAL" clId="{008C3F84-4C29-4233-992B-2D26DEA7756B}" dt="2023-11-21T08:04:56.393" v="3279" actId="20577"/>
          <ac:spMkLst>
            <pc:docMk/>
            <pc:sldMk cId="1846737171" sldId="358"/>
            <ac:spMk id="10" creationId="{6123F9E9-4EDA-8639-0B90-4D3A855C3D7A}"/>
          </ac:spMkLst>
        </pc:spChg>
      </pc:sldChg>
      <pc:sldChg chg="delSp add del mod">
        <pc:chgData name="Tobias Brammer" userId="80a1e1bd-3b82-47a5-b259-da62a397db92" providerId="ADAL" clId="{008C3F84-4C29-4233-992B-2D26DEA7756B}" dt="2023-11-21T08:18:17.738" v="3502" actId="47"/>
        <pc:sldMkLst>
          <pc:docMk/>
          <pc:sldMk cId="3294233305" sldId="359"/>
        </pc:sldMkLst>
        <pc:grpChg chg="del">
          <ac:chgData name="Tobias Brammer" userId="80a1e1bd-3b82-47a5-b259-da62a397db92" providerId="ADAL" clId="{008C3F84-4C29-4233-992B-2D26DEA7756B}" dt="2023-11-21T08:10:20.024" v="3316" actId="478"/>
          <ac:grpSpMkLst>
            <pc:docMk/>
            <pc:sldMk cId="3294233305" sldId="359"/>
            <ac:grpSpMk id="25" creationId="{A2C2722A-AD85-3EE8-5CAB-992F35AC1BCE}"/>
          </ac:grpSpMkLst>
        </pc:grpChg>
        <pc:grpChg chg="del">
          <ac:chgData name="Tobias Brammer" userId="80a1e1bd-3b82-47a5-b259-da62a397db92" providerId="ADAL" clId="{008C3F84-4C29-4233-992B-2D26DEA7756B}" dt="2023-11-21T08:10:18.184" v="3315" actId="478"/>
          <ac:grpSpMkLst>
            <pc:docMk/>
            <pc:sldMk cId="3294233305" sldId="359"/>
            <ac:grpSpMk id="26" creationId="{BBAB5653-01E6-4085-DCDC-F243ACBDB042}"/>
          </ac:grpSpMkLst>
        </pc:grpChg>
      </pc:sldChg>
      <pc:sldChg chg="addSp delSp modSp add mod ord">
        <pc:chgData name="Tobias Brammer" userId="80a1e1bd-3b82-47a5-b259-da62a397db92" providerId="ADAL" clId="{008C3F84-4C29-4233-992B-2D26DEA7756B}" dt="2023-11-21T08:16:05.262" v="3481" actId="15"/>
        <pc:sldMkLst>
          <pc:docMk/>
          <pc:sldMk cId="3353554596" sldId="360"/>
        </pc:sldMkLst>
        <pc:spChg chg="mod">
          <ac:chgData name="Tobias Brammer" userId="80a1e1bd-3b82-47a5-b259-da62a397db92" providerId="ADAL" clId="{008C3F84-4C29-4233-992B-2D26DEA7756B}" dt="2023-11-21T08:10:43.034" v="3354" actId="948"/>
          <ac:spMkLst>
            <pc:docMk/>
            <pc:sldMk cId="3353554596" sldId="360"/>
            <ac:spMk id="2" creationId="{F7A7B11F-5560-4450-B29C-AA36EE47DBD5}"/>
          </ac:spMkLst>
        </pc:spChg>
        <pc:spChg chg="add del mod">
          <ac:chgData name="Tobias Brammer" userId="80a1e1bd-3b82-47a5-b259-da62a397db92" providerId="ADAL" clId="{008C3F84-4C29-4233-992B-2D26DEA7756B}" dt="2023-11-21T08:10:37.336" v="3321" actId="478"/>
          <ac:spMkLst>
            <pc:docMk/>
            <pc:sldMk cId="3353554596" sldId="360"/>
            <ac:spMk id="3" creationId="{D3CA102B-5167-0A91-A890-5E4381DCA57F}"/>
          </ac:spMkLst>
        </pc:spChg>
        <pc:spChg chg="mod">
          <ac:chgData name="Tobias Brammer" userId="80a1e1bd-3b82-47a5-b259-da62a397db92" providerId="ADAL" clId="{008C3F84-4C29-4233-992B-2D26DEA7756B}" dt="2023-11-21T08:16:05.262" v="3481" actId="15"/>
          <ac:spMkLst>
            <pc:docMk/>
            <pc:sldMk cId="3353554596" sldId="360"/>
            <ac:spMk id="10" creationId="{6123F9E9-4EDA-8639-0B90-4D3A855C3D7A}"/>
          </ac:spMkLst>
        </pc:spChg>
        <pc:graphicFrameChg chg="mod">
          <ac:chgData name="Tobias Brammer" userId="80a1e1bd-3b82-47a5-b259-da62a397db92" providerId="ADAL" clId="{008C3F84-4C29-4233-992B-2D26DEA7756B}" dt="2023-11-21T08:10:43.037" v="3358"/>
          <ac:graphicFrameMkLst>
            <pc:docMk/>
            <pc:sldMk cId="3353554596" sldId="360"/>
            <ac:graphicFrameMk id="4" creationId="{79C05AFC-9555-D40C-AD9D-3E13BD0A4FC2}"/>
          </ac:graphicFrameMkLst>
        </pc:graphicFrameChg>
      </pc:sldChg>
      <pc:sldChg chg="modSp add mod">
        <pc:chgData name="Tobias Brammer" userId="80a1e1bd-3b82-47a5-b259-da62a397db92" providerId="ADAL" clId="{008C3F84-4C29-4233-992B-2D26DEA7756B}" dt="2023-11-21T08:16:43.734" v="3495" actId="20577"/>
        <pc:sldMkLst>
          <pc:docMk/>
          <pc:sldMk cId="102364765" sldId="361"/>
        </pc:sldMkLst>
        <pc:spChg chg="mod">
          <ac:chgData name="Tobias Brammer" userId="80a1e1bd-3b82-47a5-b259-da62a397db92" providerId="ADAL" clId="{008C3F84-4C29-4233-992B-2D26DEA7756B}" dt="2023-11-21T08:16:43.734" v="3495" actId="20577"/>
          <ac:spMkLst>
            <pc:docMk/>
            <pc:sldMk cId="102364765" sldId="361"/>
            <ac:spMk id="10" creationId="{6123F9E9-4EDA-8639-0B90-4D3A855C3D7A}"/>
          </ac:spMkLst>
        </pc:spChg>
      </pc:sldChg>
      <pc:sldChg chg="addSp delSp modSp add del mod">
        <pc:chgData name="Tobias Brammer" userId="80a1e1bd-3b82-47a5-b259-da62a397db92" providerId="ADAL" clId="{008C3F84-4C29-4233-992B-2D26DEA7756B}" dt="2023-11-21T08:46:26.453" v="16257" actId="47"/>
        <pc:sldMkLst>
          <pc:docMk/>
          <pc:sldMk cId="1615006347" sldId="362"/>
        </pc:sldMkLst>
        <pc:spChg chg="mod ord">
          <ac:chgData name="Tobias Brammer" userId="80a1e1bd-3b82-47a5-b259-da62a397db92" providerId="ADAL" clId="{008C3F84-4C29-4233-992B-2D26DEA7756B}" dt="2023-11-21T08:46:08.411" v="16252" actId="948"/>
          <ac:spMkLst>
            <pc:docMk/>
            <pc:sldMk cId="1615006347" sldId="362"/>
            <ac:spMk id="2" creationId="{F7A7B11F-5560-4450-B29C-AA36EE47DBD5}"/>
          </ac:spMkLst>
        </pc:spChg>
        <pc:spChg chg="add del mod">
          <ac:chgData name="Tobias Brammer" userId="80a1e1bd-3b82-47a5-b259-da62a397db92" providerId="ADAL" clId="{008C3F84-4C29-4233-992B-2D26DEA7756B}" dt="2023-11-21T08:30:11.235" v="4296"/>
          <ac:spMkLst>
            <pc:docMk/>
            <pc:sldMk cId="1615006347" sldId="362"/>
            <ac:spMk id="5" creationId="{AE5B1EF3-B184-ECD6-4397-E0B2A99CDE63}"/>
          </ac:spMkLst>
        </pc:spChg>
        <pc:spChg chg="mod ord">
          <ac:chgData name="Tobias Brammer" userId="80a1e1bd-3b82-47a5-b259-da62a397db92" providerId="ADAL" clId="{008C3F84-4C29-4233-992B-2D26DEA7756B}" dt="2023-11-21T08:43:11.115" v="16065"/>
          <ac:spMkLst>
            <pc:docMk/>
            <pc:sldMk cId="1615006347" sldId="362"/>
            <ac:spMk id="8" creationId="{9974A259-DC86-27AE-073B-E1B517848965}"/>
          </ac:spMkLst>
        </pc:spChg>
        <pc:spChg chg="add del mod">
          <ac:chgData name="Tobias Brammer" userId="80a1e1bd-3b82-47a5-b259-da62a397db92" providerId="ADAL" clId="{008C3F84-4C29-4233-992B-2D26DEA7756B}" dt="2023-11-21T08:31:09.455" v="4307"/>
          <ac:spMkLst>
            <pc:docMk/>
            <pc:sldMk cId="1615006347" sldId="362"/>
            <ac:spMk id="9" creationId="{43A6860C-3EC1-B7F6-3014-7D24E9B7A16A}"/>
          </ac:spMkLst>
        </pc:spChg>
        <pc:spChg chg="add mod ord replST delST">
          <ac:chgData name="Tobias Brammer" userId="80a1e1bd-3b82-47a5-b259-da62a397db92" providerId="ADAL" clId="{008C3F84-4C29-4233-992B-2D26DEA7756B}" dt="2023-11-21T08:40:06.222" v="5284"/>
          <ac:spMkLst>
            <pc:docMk/>
            <pc:sldMk cId="1615006347" sldId="362"/>
            <ac:spMk id="17" creationId="{A343CCE7-413E-8D98-B665-7BE37D2CF00A}"/>
          </ac:spMkLst>
        </pc:spChg>
        <pc:spChg chg="add del mod modVis">
          <ac:chgData name="Tobias Brammer" userId="80a1e1bd-3b82-47a5-b259-da62a397db92" providerId="ADAL" clId="{008C3F84-4C29-4233-992B-2D26DEA7756B}" dt="2023-11-21T08:40:06.222" v="5284"/>
          <ac:spMkLst>
            <pc:docMk/>
            <pc:sldMk cId="1615006347" sldId="362"/>
            <ac:spMk id="18" creationId="{4DEE2B99-6D2F-35B0-5C05-630CA2E24076}"/>
          </ac:spMkLst>
        </pc:spChg>
        <pc:spChg chg="add mod ord replST delST">
          <ac:chgData name="Tobias Brammer" userId="80a1e1bd-3b82-47a5-b259-da62a397db92" providerId="ADAL" clId="{008C3F84-4C29-4233-992B-2D26DEA7756B}" dt="2023-11-21T08:40:06.222" v="5284"/>
          <ac:spMkLst>
            <pc:docMk/>
            <pc:sldMk cId="1615006347" sldId="362"/>
            <ac:spMk id="19" creationId="{0F67D43E-DEE8-A2C7-BE1C-3526709BE8BD}"/>
          </ac:spMkLst>
        </pc:spChg>
        <pc:spChg chg="add mod replST delST">
          <ac:chgData name="Tobias Brammer" userId="80a1e1bd-3b82-47a5-b259-da62a397db92" providerId="ADAL" clId="{008C3F84-4C29-4233-992B-2D26DEA7756B}" dt="2023-11-21T08:40:06.222" v="5284"/>
          <ac:spMkLst>
            <pc:docMk/>
            <pc:sldMk cId="1615006347" sldId="362"/>
            <ac:spMk id="20" creationId="{77064BFA-7A82-3C37-9735-7D0FFE9D1FDD}"/>
          </ac:spMkLst>
        </pc:spChg>
        <pc:spChg chg="add mod replST delST">
          <ac:chgData name="Tobias Brammer" userId="80a1e1bd-3b82-47a5-b259-da62a397db92" providerId="ADAL" clId="{008C3F84-4C29-4233-992B-2D26DEA7756B}" dt="2023-11-21T08:40:06.222" v="5284"/>
          <ac:spMkLst>
            <pc:docMk/>
            <pc:sldMk cId="1615006347" sldId="362"/>
            <ac:spMk id="21" creationId="{22AB3298-ACAE-F91F-08A4-53C9EA91DBBE}"/>
          </ac:spMkLst>
        </pc:spChg>
        <pc:spChg chg="add mod replST delST">
          <ac:chgData name="Tobias Brammer" userId="80a1e1bd-3b82-47a5-b259-da62a397db92" providerId="ADAL" clId="{008C3F84-4C29-4233-992B-2D26DEA7756B}" dt="2023-11-21T08:40:06.222" v="5284"/>
          <ac:spMkLst>
            <pc:docMk/>
            <pc:sldMk cId="1615006347" sldId="362"/>
            <ac:spMk id="22" creationId="{D02EDFFC-35EA-2D01-55D1-0D1012F427CD}"/>
          </ac:spMkLst>
        </pc:spChg>
        <pc:spChg chg="add mod replST delST">
          <ac:chgData name="Tobias Brammer" userId="80a1e1bd-3b82-47a5-b259-da62a397db92" providerId="ADAL" clId="{008C3F84-4C29-4233-992B-2D26DEA7756B}" dt="2023-11-21T08:40:06.222" v="5284"/>
          <ac:spMkLst>
            <pc:docMk/>
            <pc:sldMk cId="1615006347" sldId="362"/>
            <ac:spMk id="23" creationId="{72FDBA41-2BBA-E88C-344C-333019BD5FE3}"/>
          </ac:spMkLst>
        </pc:spChg>
        <pc:spChg chg="add mod replST">
          <ac:chgData name="Tobias Brammer" userId="80a1e1bd-3b82-47a5-b259-da62a397db92" providerId="ADAL" clId="{008C3F84-4C29-4233-992B-2D26DEA7756B}" dt="2023-11-21T08:40:05.638" v="5009"/>
          <ac:spMkLst>
            <pc:docMk/>
            <pc:sldMk cId="1615006347" sldId="362"/>
            <ac:spMk id="24" creationId="{CE12B368-9334-EF81-0101-7EFEBD157DAA}"/>
          </ac:spMkLst>
        </pc:spChg>
        <pc:spChg chg="add mod replST">
          <ac:chgData name="Tobias Brammer" userId="80a1e1bd-3b82-47a5-b259-da62a397db92" providerId="ADAL" clId="{008C3F84-4C29-4233-992B-2D26DEA7756B}" dt="2023-11-21T08:40:05.638" v="5009"/>
          <ac:spMkLst>
            <pc:docMk/>
            <pc:sldMk cId="1615006347" sldId="362"/>
            <ac:spMk id="25" creationId="{EAED724C-DFFF-E6BC-3BA8-796DE3240705}"/>
          </ac:spMkLst>
        </pc:spChg>
        <pc:spChg chg="add mod replST">
          <ac:chgData name="Tobias Brammer" userId="80a1e1bd-3b82-47a5-b259-da62a397db92" providerId="ADAL" clId="{008C3F84-4C29-4233-992B-2D26DEA7756B}" dt="2023-11-21T08:40:05.638" v="5009"/>
          <ac:spMkLst>
            <pc:docMk/>
            <pc:sldMk cId="1615006347" sldId="362"/>
            <ac:spMk id="26" creationId="{BE5B9EAF-81DC-36CF-07A9-B29DA113C341}"/>
          </ac:spMkLst>
        </pc:spChg>
        <pc:spChg chg="add mod replST">
          <ac:chgData name="Tobias Brammer" userId="80a1e1bd-3b82-47a5-b259-da62a397db92" providerId="ADAL" clId="{008C3F84-4C29-4233-992B-2D26DEA7756B}" dt="2023-11-21T08:40:05.638" v="5009"/>
          <ac:spMkLst>
            <pc:docMk/>
            <pc:sldMk cId="1615006347" sldId="362"/>
            <ac:spMk id="27" creationId="{B0B94895-9C56-C30A-571A-AF3BB59F631C}"/>
          </ac:spMkLst>
        </pc:spChg>
        <pc:spChg chg="add mod replST">
          <ac:chgData name="Tobias Brammer" userId="80a1e1bd-3b82-47a5-b259-da62a397db92" providerId="ADAL" clId="{008C3F84-4C29-4233-992B-2D26DEA7756B}" dt="2023-11-21T08:40:05.638" v="5009"/>
          <ac:spMkLst>
            <pc:docMk/>
            <pc:sldMk cId="1615006347" sldId="362"/>
            <ac:spMk id="28" creationId="{47A90AE0-94BC-00E4-037A-D11D0C571BFC}"/>
          </ac:spMkLst>
        </pc:spChg>
        <pc:spChg chg="add mod replST">
          <ac:chgData name="Tobias Brammer" userId="80a1e1bd-3b82-47a5-b259-da62a397db92" providerId="ADAL" clId="{008C3F84-4C29-4233-992B-2D26DEA7756B}" dt="2023-11-21T08:40:05.638" v="5009"/>
          <ac:spMkLst>
            <pc:docMk/>
            <pc:sldMk cId="1615006347" sldId="362"/>
            <ac:spMk id="29" creationId="{2835096E-7282-07FD-646F-A137A06ED209}"/>
          </ac:spMkLst>
        </pc:spChg>
        <pc:spChg chg="add del mod modVis">
          <ac:chgData name="Tobias Brammer" userId="80a1e1bd-3b82-47a5-b259-da62a397db92" providerId="ADAL" clId="{008C3F84-4C29-4233-992B-2D26DEA7756B}" dt="2023-11-21T08:40:05.638" v="5009"/>
          <ac:spMkLst>
            <pc:docMk/>
            <pc:sldMk cId="1615006347" sldId="362"/>
            <ac:spMk id="30" creationId="{FB3B2313-F68C-49B7-27C3-B7C1A511D8C7}"/>
          </ac:spMkLst>
        </pc:spChg>
        <pc:spChg chg="add del mod ord replST">
          <ac:chgData name="Tobias Brammer" userId="80a1e1bd-3b82-47a5-b259-da62a397db92" providerId="ADAL" clId="{008C3F84-4C29-4233-992B-2D26DEA7756B}" dt="2023-11-21T08:43:10.908" v="15764"/>
          <ac:spMkLst>
            <pc:docMk/>
            <pc:sldMk cId="1615006347" sldId="362"/>
            <ac:spMk id="31" creationId="{50B39C08-6B0F-C8C8-2D43-83117DC3A1C7}"/>
          </ac:spMkLst>
        </pc:spChg>
        <pc:spChg chg="add del mod modVis">
          <ac:chgData name="Tobias Brammer" userId="80a1e1bd-3b82-47a5-b259-da62a397db92" providerId="ADAL" clId="{008C3F84-4C29-4233-992B-2D26DEA7756B}" dt="2023-11-21T08:40:16.269" v="5663"/>
          <ac:spMkLst>
            <pc:docMk/>
            <pc:sldMk cId="1615006347" sldId="362"/>
            <ac:spMk id="32" creationId="{9465E111-97C1-06A1-EE7C-28881649CEE6}"/>
          </ac:spMkLst>
        </pc:spChg>
        <pc:spChg chg="add del mod ord replST">
          <ac:chgData name="Tobias Brammer" userId="80a1e1bd-3b82-47a5-b259-da62a397db92" providerId="ADAL" clId="{008C3F84-4C29-4233-992B-2D26DEA7756B}" dt="2023-11-21T08:43:05.112" v="13976"/>
          <ac:spMkLst>
            <pc:docMk/>
            <pc:sldMk cId="1615006347" sldId="362"/>
            <ac:spMk id="33" creationId="{57E136EF-CCBC-1D8B-4B4F-61F367A50C8F}"/>
          </ac:spMkLst>
        </pc:spChg>
        <pc:spChg chg="add del mod replST">
          <ac:chgData name="Tobias Brammer" userId="80a1e1bd-3b82-47a5-b259-da62a397db92" providerId="ADAL" clId="{008C3F84-4C29-4233-992B-2D26DEA7756B}" dt="2023-11-21T08:43:05.112" v="13978"/>
          <ac:spMkLst>
            <pc:docMk/>
            <pc:sldMk cId="1615006347" sldId="362"/>
            <ac:spMk id="34" creationId="{A00E15D9-4209-E7D0-CC1E-C227A374F930}"/>
          </ac:spMkLst>
        </pc:spChg>
        <pc:spChg chg="add del mod ord replST">
          <ac:chgData name="Tobias Brammer" userId="80a1e1bd-3b82-47a5-b259-da62a397db92" providerId="ADAL" clId="{008C3F84-4C29-4233-992B-2D26DEA7756B}" dt="2023-11-21T08:43:05.112" v="13977"/>
          <ac:spMkLst>
            <pc:docMk/>
            <pc:sldMk cId="1615006347" sldId="362"/>
            <ac:spMk id="35" creationId="{62B50151-1C6F-A494-8EA5-719BA5693B18}"/>
          </ac:spMkLst>
        </pc:spChg>
        <pc:spChg chg="add del mod replST">
          <ac:chgData name="Tobias Brammer" userId="80a1e1bd-3b82-47a5-b259-da62a397db92" providerId="ADAL" clId="{008C3F84-4C29-4233-992B-2D26DEA7756B}" dt="2023-11-21T08:43:05.114" v="13981"/>
          <ac:spMkLst>
            <pc:docMk/>
            <pc:sldMk cId="1615006347" sldId="362"/>
            <ac:spMk id="36" creationId="{607EB066-BEE5-8453-EEC0-5C6D87171515}"/>
          </ac:spMkLst>
        </pc:spChg>
        <pc:spChg chg="add del mod ord replST">
          <ac:chgData name="Tobias Brammer" userId="80a1e1bd-3b82-47a5-b259-da62a397db92" providerId="ADAL" clId="{008C3F84-4C29-4233-992B-2D26DEA7756B}" dt="2023-11-21T08:43:05.110" v="13973"/>
          <ac:spMkLst>
            <pc:docMk/>
            <pc:sldMk cId="1615006347" sldId="362"/>
            <ac:spMk id="37" creationId="{E174FC5E-DF2A-9F69-017E-D90769C908F0}"/>
          </ac:spMkLst>
        </pc:spChg>
        <pc:spChg chg="add del mod ord replST">
          <ac:chgData name="Tobias Brammer" userId="80a1e1bd-3b82-47a5-b259-da62a397db92" providerId="ADAL" clId="{008C3F84-4C29-4233-992B-2D26DEA7756B}" dt="2023-11-21T08:43:05.113" v="13980"/>
          <ac:spMkLst>
            <pc:docMk/>
            <pc:sldMk cId="1615006347" sldId="362"/>
            <ac:spMk id="38" creationId="{810FFE8A-A08F-3C66-5510-474C34F4088D}"/>
          </ac:spMkLst>
        </pc:spChg>
        <pc:spChg chg="add del mod ord replST">
          <ac:chgData name="Tobias Brammer" userId="80a1e1bd-3b82-47a5-b259-da62a397db92" providerId="ADAL" clId="{008C3F84-4C29-4233-992B-2D26DEA7756B}" dt="2023-11-21T08:43:05.111" v="13974"/>
          <ac:spMkLst>
            <pc:docMk/>
            <pc:sldMk cId="1615006347" sldId="362"/>
            <ac:spMk id="39" creationId="{8D96F309-FF47-473A-EDDE-DA2BAC75EE74}"/>
          </ac:spMkLst>
        </pc:spChg>
        <pc:spChg chg="add del mod ord replST">
          <ac:chgData name="Tobias Brammer" userId="80a1e1bd-3b82-47a5-b259-da62a397db92" providerId="ADAL" clId="{008C3F84-4C29-4233-992B-2D26DEA7756B}" dt="2023-11-21T08:43:05.119" v="13998"/>
          <ac:spMkLst>
            <pc:docMk/>
            <pc:sldMk cId="1615006347" sldId="362"/>
            <ac:spMk id="40" creationId="{AA3CE9B8-C35A-257F-5DA6-7F59889E4F66}"/>
          </ac:spMkLst>
        </pc:spChg>
        <pc:spChg chg="add del mod replST">
          <ac:chgData name="Tobias Brammer" userId="80a1e1bd-3b82-47a5-b259-da62a397db92" providerId="ADAL" clId="{008C3F84-4C29-4233-992B-2D26DEA7756B}" dt="2023-11-21T08:43:05.121" v="14004"/>
          <ac:spMkLst>
            <pc:docMk/>
            <pc:sldMk cId="1615006347" sldId="362"/>
            <ac:spMk id="41" creationId="{44AAD93A-E8E9-7182-D2AF-B06A598759C3}"/>
          </ac:spMkLst>
        </pc:spChg>
        <pc:spChg chg="add del mod ord replST">
          <ac:chgData name="Tobias Brammer" userId="80a1e1bd-3b82-47a5-b259-da62a397db92" providerId="ADAL" clId="{008C3F84-4C29-4233-992B-2D26DEA7756B}" dt="2023-11-21T08:43:05.118" v="13996"/>
          <ac:spMkLst>
            <pc:docMk/>
            <pc:sldMk cId="1615006347" sldId="362"/>
            <ac:spMk id="42" creationId="{851A9C4F-B68E-B68D-49F0-23CCEC17F083}"/>
          </ac:spMkLst>
        </pc:spChg>
        <pc:spChg chg="add del mod ord replST">
          <ac:chgData name="Tobias Brammer" userId="80a1e1bd-3b82-47a5-b259-da62a397db92" providerId="ADAL" clId="{008C3F84-4C29-4233-992B-2D26DEA7756B}" dt="2023-11-21T08:43:05.119" v="13999"/>
          <ac:spMkLst>
            <pc:docMk/>
            <pc:sldMk cId="1615006347" sldId="362"/>
            <ac:spMk id="43" creationId="{A3CC9679-E384-1861-F400-B99422421203}"/>
          </ac:spMkLst>
        </pc:spChg>
        <pc:spChg chg="add del mod replST">
          <ac:chgData name="Tobias Brammer" userId="80a1e1bd-3b82-47a5-b259-da62a397db92" providerId="ADAL" clId="{008C3F84-4C29-4233-992B-2D26DEA7756B}" dt="2023-11-21T08:43:05.118" v="13995"/>
          <ac:spMkLst>
            <pc:docMk/>
            <pc:sldMk cId="1615006347" sldId="362"/>
            <ac:spMk id="44" creationId="{058DC430-8303-006E-AA87-EC24E363A23D}"/>
          </ac:spMkLst>
        </pc:spChg>
        <pc:spChg chg="add del mod ord replST">
          <ac:chgData name="Tobias Brammer" userId="80a1e1bd-3b82-47a5-b259-da62a397db92" providerId="ADAL" clId="{008C3F84-4C29-4233-992B-2D26DEA7756B}" dt="2023-11-21T08:43:05.120" v="14001"/>
          <ac:spMkLst>
            <pc:docMk/>
            <pc:sldMk cId="1615006347" sldId="362"/>
            <ac:spMk id="45" creationId="{9E078A7F-682A-4551-B1C4-B1508366BA01}"/>
          </ac:spMkLst>
        </pc:spChg>
        <pc:spChg chg="add del mod ord replST">
          <ac:chgData name="Tobias Brammer" userId="80a1e1bd-3b82-47a5-b259-da62a397db92" providerId="ADAL" clId="{008C3F84-4C29-4233-992B-2D26DEA7756B}" dt="2023-11-21T08:43:05.122" v="14010"/>
          <ac:spMkLst>
            <pc:docMk/>
            <pc:sldMk cId="1615006347" sldId="362"/>
            <ac:spMk id="46" creationId="{5DA43C38-B035-1667-F10D-79295BC230A0}"/>
          </ac:spMkLst>
        </pc:spChg>
        <pc:spChg chg="add del mod replST">
          <ac:chgData name="Tobias Brammer" userId="80a1e1bd-3b82-47a5-b259-da62a397db92" providerId="ADAL" clId="{008C3F84-4C29-4233-992B-2D26DEA7756B}" dt="2023-11-21T08:43:05.117" v="13994"/>
          <ac:spMkLst>
            <pc:docMk/>
            <pc:sldMk cId="1615006347" sldId="362"/>
            <ac:spMk id="47" creationId="{493A3EA9-4978-991C-1F56-E737E68CA231}"/>
          </ac:spMkLst>
        </pc:spChg>
        <pc:spChg chg="add del mod ord replST">
          <ac:chgData name="Tobias Brammer" userId="80a1e1bd-3b82-47a5-b259-da62a397db92" providerId="ADAL" clId="{008C3F84-4C29-4233-992B-2D26DEA7756B}" dt="2023-11-21T08:43:05.118" v="13997"/>
          <ac:spMkLst>
            <pc:docMk/>
            <pc:sldMk cId="1615006347" sldId="362"/>
            <ac:spMk id="48" creationId="{F913F9BF-EC5C-AE63-6370-A69B025514F8}"/>
          </ac:spMkLst>
        </pc:spChg>
        <pc:spChg chg="add del mod ord replST">
          <ac:chgData name="Tobias Brammer" userId="80a1e1bd-3b82-47a5-b259-da62a397db92" providerId="ADAL" clId="{008C3F84-4C29-4233-992B-2D26DEA7756B}" dt="2023-11-21T08:43:05.120" v="14002"/>
          <ac:spMkLst>
            <pc:docMk/>
            <pc:sldMk cId="1615006347" sldId="362"/>
            <ac:spMk id="49" creationId="{E0FDF2D9-8548-EE9F-B11E-A7348F9C64E0}"/>
          </ac:spMkLst>
        </pc:spChg>
        <pc:spChg chg="add del mod replST">
          <ac:chgData name="Tobias Brammer" userId="80a1e1bd-3b82-47a5-b259-da62a397db92" providerId="ADAL" clId="{008C3F84-4C29-4233-992B-2D26DEA7756B}" dt="2023-11-21T08:43:05.122" v="14008"/>
          <ac:spMkLst>
            <pc:docMk/>
            <pc:sldMk cId="1615006347" sldId="362"/>
            <ac:spMk id="50" creationId="{2242C0E5-8C41-EF8C-4D0D-5FD69B2D3A37}"/>
          </ac:spMkLst>
        </pc:spChg>
        <pc:spChg chg="add del mod ord replST">
          <ac:chgData name="Tobias Brammer" userId="80a1e1bd-3b82-47a5-b259-da62a397db92" providerId="ADAL" clId="{008C3F84-4C29-4233-992B-2D26DEA7756B}" dt="2023-11-21T08:43:05.122" v="14009"/>
          <ac:spMkLst>
            <pc:docMk/>
            <pc:sldMk cId="1615006347" sldId="362"/>
            <ac:spMk id="51" creationId="{A6DF1936-283D-91D4-CD4D-87153093823C}"/>
          </ac:spMkLst>
        </pc:spChg>
        <pc:spChg chg="add del mod ord replST">
          <ac:chgData name="Tobias Brammer" userId="80a1e1bd-3b82-47a5-b259-da62a397db92" providerId="ADAL" clId="{008C3F84-4C29-4233-992B-2D26DEA7756B}" dt="2023-11-21T08:43:05.121" v="14006"/>
          <ac:spMkLst>
            <pc:docMk/>
            <pc:sldMk cId="1615006347" sldId="362"/>
            <ac:spMk id="52" creationId="{94F0ADE0-22CA-49E5-A51C-4B2F3F41A23A}"/>
          </ac:spMkLst>
        </pc:spChg>
        <pc:spChg chg="add del mod replST">
          <ac:chgData name="Tobias Brammer" userId="80a1e1bd-3b82-47a5-b259-da62a397db92" providerId="ADAL" clId="{008C3F84-4C29-4233-992B-2D26DEA7756B}" dt="2023-11-21T08:43:05.119" v="14000"/>
          <ac:spMkLst>
            <pc:docMk/>
            <pc:sldMk cId="1615006347" sldId="362"/>
            <ac:spMk id="53" creationId="{7A4AA153-BBD7-0876-9F26-6AA90DA65A85}"/>
          </ac:spMkLst>
        </pc:spChg>
        <pc:spChg chg="add del mod ord replST">
          <ac:chgData name="Tobias Brammer" userId="80a1e1bd-3b82-47a5-b259-da62a397db92" providerId="ADAL" clId="{008C3F84-4C29-4233-992B-2D26DEA7756B}" dt="2023-11-21T08:43:05.120" v="14003"/>
          <ac:spMkLst>
            <pc:docMk/>
            <pc:sldMk cId="1615006347" sldId="362"/>
            <ac:spMk id="54" creationId="{EEFDA5C8-4267-10E3-B0D7-D63DA49F65C0}"/>
          </ac:spMkLst>
        </pc:spChg>
        <pc:spChg chg="add del mod ord replST">
          <ac:chgData name="Tobias Brammer" userId="80a1e1bd-3b82-47a5-b259-da62a397db92" providerId="ADAL" clId="{008C3F84-4C29-4233-992B-2D26DEA7756B}" dt="2023-11-21T08:43:05.121" v="14007"/>
          <ac:spMkLst>
            <pc:docMk/>
            <pc:sldMk cId="1615006347" sldId="362"/>
            <ac:spMk id="55" creationId="{2292D4E5-A163-5FB0-EB4B-2B44DB7A07AB}"/>
          </ac:spMkLst>
        </pc:spChg>
        <pc:spChg chg="add del mod replST">
          <ac:chgData name="Tobias Brammer" userId="80a1e1bd-3b82-47a5-b259-da62a397db92" providerId="ADAL" clId="{008C3F84-4C29-4233-992B-2D26DEA7756B}" dt="2023-11-21T08:43:05.121" v="14005"/>
          <ac:spMkLst>
            <pc:docMk/>
            <pc:sldMk cId="1615006347" sldId="362"/>
            <ac:spMk id="56" creationId="{E0346B43-164A-609E-27D3-7A05FFE04978}"/>
          </ac:spMkLst>
        </pc:spChg>
        <pc:spChg chg="add del mod ord replST">
          <ac:chgData name="Tobias Brammer" userId="80a1e1bd-3b82-47a5-b259-da62a397db92" providerId="ADAL" clId="{008C3F84-4C29-4233-992B-2D26DEA7756B}" dt="2023-11-21T08:43:05.104" v="13951"/>
          <ac:spMkLst>
            <pc:docMk/>
            <pc:sldMk cId="1615006347" sldId="362"/>
            <ac:spMk id="57" creationId="{3BCD1B1C-481C-5D97-B80A-DE604C172F2B}"/>
          </ac:spMkLst>
        </pc:spChg>
        <pc:spChg chg="add del mod ord replST">
          <ac:chgData name="Tobias Brammer" userId="80a1e1bd-3b82-47a5-b259-da62a397db92" providerId="ADAL" clId="{008C3F84-4C29-4233-992B-2D26DEA7756B}" dt="2023-11-21T08:43:05.103" v="13950"/>
          <ac:spMkLst>
            <pc:docMk/>
            <pc:sldMk cId="1615006347" sldId="362"/>
            <ac:spMk id="58" creationId="{0E160289-A077-70E3-ABE3-A4C44BF31BDE}"/>
          </ac:spMkLst>
        </pc:spChg>
        <pc:spChg chg="add del mod replST">
          <ac:chgData name="Tobias Brammer" userId="80a1e1bd-3b82-47a5-b259-da62a397db92" providerId="ADAL" clId="{008C3F84-4C29-4233-992B-2D26DEA7756B}" dt="2023-11-21T08:43:05.107" v="13963"/>
          <ac:spMkLst>
            <pc:docMk/>
            <pc:sldMk cId="1615006347" sldId="362"/>
            <ac:spMk id="59" creationId="{7AD5F371-61C1-63B8-2DB2-CFF5B9D32441}"/>
          </ac:spMkLst>
        </pc:spChg>
        <pc:spChg chg="add del mod ord replST">
          <ac:chgData name="Tobias Brammer" userId="80a1e1bd-3b82-47a5-b259-da62a397db92" providerId="ADAL" clId="{008C3F84-4C29-4233-992B-2D26DEA7756B}" dt="2023-11-21T08:43:05.107" v="13962"/>
          <ac:spMkLst>
            <pc:docMk/>
            <pc:sldMk cId="1615006347" sldId="362"/>
            <ac:spMk id="60" creationId="{27E08067-706B-8D5A-E6F3-12B758F8E2EE}"/>
          </ac:spMkLst>
        </pc:spChg>
        <pc:spChg chg="add del mod ord replST">
          <ac:chgData name="Tobias Brammer" userId="80a1e1bd-3b82-47a5-b259-da62a397db92" providerId="ADAL" clId="{008C3F84-4C29-4233-992B-2D26DEA7756B}" dt="2023-11-21T08:43:05.108" v="13964"/>
          <ac:spMkLst>
            <pc:docMk/>
            <pc:sldMk cId="1615006347" sldId="362"/>
            <ac:spMk id="61" creationId="{09921B9E-72FB-51AB-F0F6-26A52DAEA7E3}"/>
          </ac:spMkLst>
        </pc:spChg>
        <pc:spChg chg="add del mod replST">
          <ac:chgData name="Tobias Brammer" userId="80a1e1bd-3b82-47a5-b259-da62a397db92" providerId="ADAL" clId="{008C3F84-4C29-4233-992B-2D26DEA7756B}" dt="2023-11-21T08:43:05.110" v="13971"/>
          <ac:spMkLst>
            <pc:docMk/>
            <pc:sldMk cId="1615006347" sldId="362"/>
            <ac:spMk id="62" creationId="{AD1E3F77-94C7-C873-CFDC-08A1F411FAB9}"/>
          </ac:spMkLst>
        </pc:spChg>
        <pc:spChg chg="add del mod ord replST">
          <ac:chgData name="Tobias Brammer" userId="80a1e1bd-3b82-47a5-b259-da62a397db92" providerId="ADAL" clId="{008C3F84-4C29-4233-992B-2D26DEA7756B}" dt="2023-11-21T08:43:05.110" v="13970"/>
          <ac:spMkLst>
            <pc:docMk/>
            <pc:sldMk cId="1615006347" sldId="362"/>
            <ac:spMk id="63" creationId="{8AD4AC6B-2AE5-9D0C-0E10-558CC347B609}"/>
          </ac:spMkLst>
        </pc:spChg>
        <pc:spChg chg="add del mod ord replST">
          <ac:chgData name="Tobias Brammer" userId="80a1e1bd-3b82-47a5-b259-da62a397db92" providerId="ADAL" clId="{008C3F84-4C29-4233-992B-2D26DEA7756B}" dt="2023-11-21T08:43:05.110" v="13972"/>
          <ac:spMkLst>
            <pc:docMk/>
            <pc:sldMk cId="1615006347" sldId="362"/>
            <ac:spMk id="64" creationId="{5FA4C821-7069-9DCC-2287-8FEAE75DEAFF}"/>
          </ac:spMkLst>
        </pc:spChg>
        <pc:spChg chg="add del mod replST">
          <ac:chgData name="Tobias Brammer" userId="80a1e1bd-3b82-47a5-b259-da62a397db92" providerId="ADAL" clId="{008C3F84-4C29-4233-992B-2D26DEA7756B}" dt="2023-11-21T08:43:05.109" v="13969"/>
          <ac:spMkLst>
            <pc:docMk/>
            <pc:sldMk cId="1615006347" sldId="362"/>
            <ac:spMk id="65" creationId="{B66616A7-BB53-9973-4A31-C7564146E910}"/>
          </ac:spMkLst>
        </pc:spChg>
        <pc:spChg chg="add del mod ord replST">
          <ac:chgData name="Tobias Brammer" userId="80a1e1bd-3b82-47a5-b259-da62a397db92" providerId="ADAL" clId="{008C3F84-4C29-4233-992B-2D26DEA7756B}" dt="2023-11-21T08:43:05.109" v="13967"/>
          <ac:spMkLst>
            <pc:docMk/>
            <pc:sldMk cId="1615006347" sldId="362"/>
            <ac:spMk id="66" creationId="{00782CDE-965C-AFF6-ACC4-5A2854B8ED30}"/>
          </ac:spMkLst>
        </pc:spChg>
        <pc:spChg chg="add del mod ord replST">
          <ac:chgData name="Tobias Brammer" userId="80a1e1bd-3b82-47a5-b259-da62a397db92" providerId="ADAL" clId="{008C3F84-4C29-4233-992B-2D26DEA7756B}" dt="2023-11-21T08:43:05.108" v="13966"/>
          <ac:spMkLst>
            <pc:docMk/>
            <pc:sldMk cId="1615006347" sldId="362"/>
            <ac:spMk id="67" creationId="{94C8EFBD-54BB-D6B5-3F66-8742673AAAAB}"/>
          </ac:spMkLst>
        </pc:spChg>
        <pc:spChg chg="add del mod replST">
          <ac:chgData name="Tobias Brammer" userId="80a1e1bd-3b82-47a5-b259-da62a397db92" providerId="ADAL" clId="{008C3F84-4C29-4233-992B-2D26DEA7756B}" dt="2023-11-21T08:43:05.109" v="13968"/>
          <ac:spMkLst>
            <pc:docMk/>
            <pc:sldMk cId="1615006347" sldId="362"/>
            <ac:spMk id="68" creationId="{ACC1C355-0310-27CF-6716-6929620357A9}"/>
          </ac:spMkLst>
        </pc:spChg>
        <pc:spChg chg="add del mod ord replST">
          <ac:chgData name="Tobias Brammer" userId="80a1e1bd-3b82-47a5-b259-da62a397db92" providerId="ADAL" clId="{008C3F84-4C29-4233-992B-2D26DEA7756B}" dt="2023-11-21T08:43:05.108" v="13965"/>
          <ac:spMkLst>
            <pc:docMk/>
            <pc:sldMk cId="1615006347" sldId="362"/>
            <ac:spMk id="69" creationId="{0FA335C1-CE0D-27A5-488E-68235F60BDEB}"/>
          </ac:spMkLst>
        </pc:spChg>
        <pc:spChg chg="add del mod ord replST">
          <ac:chgData name="Tobias Brammer" userId="80a1e1bd-3b82-47a5-b259-da62a397db92" providerId="ADAL" clId="{008C3F84-4C29-4233-992B-2D26DEA7756B}" dt="2023-11-21T08:43:05.105" v="13957"/>
          <ac:spMkLst>
            <pc:docMk/>
            <pc:sldMk cId="1615006347" sldId="362"/>
            <ac:spMk id="70" creationId="{0BB10A96-B3A2-04D4-06BF-8AD159CD6EA9}"/>
          </ac:spMkLst>
        </pc:spChg>
        <pc:spChg chg="add del mod replST">
          <ac:chgData name="Tobias Brammer" userId="80a1e1bd-3b82-47a5-b259-da62a397db92" providerId="ADAL" clId="{008C3F84-4C29-4233-992B-2D26DEA7756B}" dt="2023-11-21T08:43:05.105" v="13955"/>
          <ac:spMkLst>
            <pc:docMk/>
            <pc:sldMk cId="1615006347" sldId="362"/>
            <ac:spMk id="71" creationId="{68B8AD16-5DB4-A5DE-2ECF-00AFE4DAC1F4}"/>
          </ac:spMkLst>
        </pc:spChg>
        <pc:spChg chg="add del mod ord replST">
          <ac:chgData name="Tobias Brammer" userId="80a1e1bd-3b82-47a5-b259-da62a397db92" providerId="ADAL" clId="{008C3F84-4C29-4233-992B-2D26DEA7756B}" dt="2023-11-21T08:43:05.107" v="13961"/>
          <ac:spMkLst>
            <pc:docMk/>
            <pc:sldMk cId="1615006347" sldId="362"/>
            <ac:spMk id="72" creationId="{88CD9EC5-F922-B598-6781-DB9BB9DFB725}"/>
          </ac:spMkLst>
        </pc:spChg>
        <pc:spChg chg="add del mod ord replST">
          <ac:chgData name="Tobias Brammer" userId="80a1e1bd-3b82-47a5-b259-da62a397db92" providerId="ADAL" clId="{008C3F84-4C29-4233-992B-2D26DEA7756B}" dt="2023-11-21T08:43:05.106" v="13960"/>
          <ac:spMkLst>
            <pc:docMk/>
            <pc:sldMk cId="1615006347" sldId="362"/>
            <ac:spMk id="73" creationId="{9016B4C5-5914-3C41-3481-D7A65E93B9BE}"/>
          </ac:spMkLst>
        </pc:spChg>
        <pc:spChg chg="add del mod replST">
          <ac:chgData name="Tobias Brammer" userId="80a1e1bd-3b82-47a5-b259-da62a397db92" providerId="ADAL" clId="{008C3F84-4C29-4233-992B-2D26DEA7756B}" dt="2023-11-21T08:43:05.105" v="13956"/>
          <ac:spMkLst>
            <pc:docMk/>
            <pc:sldMk cId="1615006347" sldId="362"/>
            <ac:spMk id="74" creationId="{A19DE42A-436A-7FFC-F3AC-DDF8E00BC578}"/>
          </ac:spMkLst>
        </pc:spChg>
        <pc:spChg chg="add del mod ord replST">
          <ac:chgData name="Tobias Brammer" userId="80a1e1bd-3b82-47a5-b259-da62a397db92" providerId="ADAL" clId="{008C3F84-4C29-4233-992B-2D26DEA7756B}" dt="2023-11-21T08:43:05.104" v="13952"/>
          <ac:spMkLst>
            <pc:docMk/>
            <pc:sldMk cId="1615006347" sldId="362"/>
            <ac:spMk id="75" creationId="{A274235F-2075-B1EE-188C-9E38ABDBC39A}"/>
          </ac:spMkLst>
        </pc:spChg>
        <pc:spChg chg="add del mod ord replST">
          <ac:chgData name="Tobias Brammer" userId="80a1e1bd-3b82-47a5-b259-da62a397db92" providerId="ADAL" clId="{008C3F84-4C29-4233-992B-2D26DEA7756B}" dt="2023-11-21T08:43:05.106" v="13959"/>
          <ac:spMkLst>
            <pc:docMk/>
            <pc:sldMk cId="1615006347" sldId="362"/>
            <ac:spMk id="76" creationId="{34CFC85D-3AD0-9F0B-ECAE-E01728171F15}"/>
          </ac:spMkLst>
        </pc:spChg>
        <pc:spChg chg="add del mod replST">
          <ac:chgData name="Tobias Brammer" userId="80a1e1bd-3b82-47a5-b259-da62a397db92" providerId="ADAL" clId="{008C3F84-4C29-4233-992B-2D26DEA7756B}" dt="2023-11-21T08:43:05.106" v="13958"/>
          <ac:spMkLst>
            <pc:docMk/>
            <pc:sldMk cId="1615006347" sldId="362"/>
            <ac:spMk id="77" creationId="{EE7D0A88-424D-1A4F-0123-35EB63B78E0D}"/>
          </ac:spMkLst>
        </pc:spChg>
        <pc:spChg chg="add del mod ord replST">
          <ac:chgData name="Tobias Brammer" userId="80a1e1bd-3b82-47a5-b259-da62a397db92" providerId="ADAL" clId="{008C3F84-4C29-4233-992B-2D26DEA7756B}" dt="2023-11-21T08:43:05.105" v="13954"/>
          <ac:spMkLst>
            <pc:docMk/>
            <pc:sldMk cId="1615006347" sldId="362"/>
            <ac:spMk id="78" creationId="{5C91CB82-04B6-AD61-422D-088A9E6F5576}"/>
          </ac:spMkLst>
        </pc:spChg>
        <pc:spChg chg="add del mod ord replST">
          <ac:chgData name="Tobias Brammer" userId="80a1e1bd-3b82-47a5-b259-da62a397db92" providerId="ADAL" clId="{008C3F84-4C29-4233-992B-2D26DEA7756B}" dt="2023-11-21T08:43:05.104" v="13953"/>
          <ac:spMkLst>
            <pc:docMk/>
            <pc:sldMk cId="1615006347" sldId="362"/>
            <ac:spMk id="79" creationId="{60633F42-7330-1BBA-F2E1-D07A22BF55F3}"/>
          </ac:spMkLst>
        </pc:spChg>
        <pc:spChg chg="add del mod replST">
          <ac:chgData name="Tobias Brammer" userId="80a1e1bd-3b82-47a5-b259-da62a397db92" providerId="ADAL" clId="{008C3F84-4C29-4233-992B-2D26DEA7756B}" dt="2023-11-21T08:43:05.117" v="13991"/>
          <ac:spMkLst>
            <pc:docMk/>
            <pc:sldMk cId="1615006347" sldId="362"/>
            <ac:spMk id="80" creationId="{3AE7389B-848B-46DC-F82E-41DE28A89B20}"/>
          </ac:spMkLst>
        </pc:spChg>
        <pc:spChg chg="add del mod ord replST">
          <ac:chgData name="Tobias Brammer" userId="80a1e1bd-3b82-47a5-b259-da62a397db92" providerId="ADAL" clId="{008C3F84-4C29-4233-992B-2D26DEA7756B}" dt="2023-11-21T08:43:05.115" v="13986"/>
          <ac:spMkLst>
            <pc:docMk/>
            <pc:sldMk cId="1615006347" sldId="362"/>
            <ac:spMk id="81" creationId="{A9A79C68-53CF-045A-EEB7-4AE7F7C15EA1}"/>
          </ac:spMkLst>
        </pc:spChg>
        <pc:spChg chg="add del mod ord replST">
          <ac:chgData name="Tobias Brammer" userId="80a1e1bd-3b82-47a5-b259-da62a397db92" providerId="ADAL" clId="{008C3F84-4C29-4233-992B-2D26DEA7756B}" dt="2023-11-21T08:43:05.117" v="13993"/>
          <ac:spMkLst>
            <pc:docMk/>
            <pc:sldMk cId="1615006347" sldId="362"/>
            <ac:spMk id="82" creationId="{D66A9090-B271-6503-0751-F69774557393}"/>
          </ac:spMkLst>
        </pc:spChg>
        <pc:spChg chg="add del mod replST">
          <ac:chgData name="Tobias Brammer" userId="80a1e1bd-3b82-47a5-b259-da62a397db92" providerId="ADAL" clId="{008C3F84-4C29-4233-992B-2D26DEA7756B}" dt="2023-11-21T08:43:05.115" v="13985"/>
          <ac:spMkLst>
            <pc:docMk/>
            <pc:sldMk cId="1615006347" sldId="362"/>
            <ac:spMk id="83" creationId="{ADBE21AF-7F35-B592-0814-B448010A7625}"/>
          </ac:spMkLst>
        </pc:spChg>
        <pc:spChg chg="add del mod ord replST">
          <ac:chgData name="Tobias Brammer" userId="80a1e1bd-3b82-47a5-b259-da62a397db92" providerId="ADAL" clId="{008C3F84-4C29-4233-992B-2D26DEA7756B}" dt="2023-11-21T08:43:05.116" v="13988"/>
          <ac:spMkLst>
            <pc:docMk/>
            <pc:sldMk cId="1615006347" sldId="362"/>
            <ac:spMk id="84" creationId="{91549DE1-5CB6-8B11-4A8B-742A0CBD4F07}"/>
          </ac:spMkLst>
        </pc:spChg>
        <pc:spChg chg="add del mod ord replST">
          <ac:chgData name="Tobias Brammer" userId="80a1e1bd-3b82-47a5-b259-da62a397db92" providerId="ADAL" clId="{008C3F84-4C29-4233-992B-2D26DEA7756B}" dt="2023-11-21T08:43:05.116" v="13990"/>
          <ac:spMkLst>
            <pc:docMk/>
            <pc:sldMk cId="1615006347" sldId="362"/>
            <ac:spMk id="85" creationId="{29B866A0-D558-5759-1DC1-A3726498065A}"/>
          </ac:spMkLst>
        </pc:spChg>
        <pc:spChg chg="add del mod replST">
          <ac:chgData name="Tobias Brammer" userId="80a1e1bd-3b82-47a5-b259-da62a397db92" providerId="ADAL" clId="{008C3F84-4C29-4233-992B-2D26DEA7756B}" dt="2023-11-21T08:43:05.114" v="13983"/>
          <ac:spMkLst>
            <pc:docMk/>
            <pc:sldMk cId="1615006347" sldId="362"/>
            <ac:spMk id="86" creationId="{DA8000B7-7B70-E558-8797-F4A980E7C6E4}"/>
          </ac:spMkLst>
        </pc:spChg>
        <pc:spChg chg="add del mod ord replST">
          <ac:chgData name="Tobias Brammer" userId="80a1e1bd-3b82-47a5-b259-da62a397db92" providerId="ADAL" clId="{008C3F84-4C29-4233-992B-2D26DEA7756B}" dt="2023-11-21T08:43:05.114" v="13984"/>
          <ac:spMkLst>
            <pc:docMk/>
            <pc:sldMk cId="1615006347" sldId="362"/>
            <ac:spMk id="87" creationId="{075B1BB2-8FD3-DFFD-ECBC-F3C13F34F246}"/>
          </ac:spMkLst>
        </pc:spChg>
        <pc:spChg chg="add del mod ord replST">
          <ac:chgData name="Tobias Brammer" userId="80a1e1bd-3b82-47a5-b259-da62a397db92" providerId="ADAL" clId="{008C3F84-4C29-4233-992B-2D26DEA7756B}" dt="2023-11-21T08:43:05.116" v="13989"/>
          <ac:spMkLst>
            <pc:docMk/>
            <pc:sldMk cId="1615006347" sldId="362"/>
            <ac:spMk id="88" creationId="{2A9CC6D9-0970-15CF-CA2E-77613B6112D9}"/>
          </ac:spMkLst>
        </pc:spChg>
        <pc:spChg chg="add del mod replST">
          <ac:chgData name="Tobias Brammer" userId="80a1e1bd-3b82-47a5-b259-da62a397db92" providerId="ADAL" clId="{008C3F84-4C29-4233-992B-2D26DEA7756B}" dt="2023-11-21T08:43:05.115" v="13987"/>
          <ac:spMkLst>
            <pc:docMk/>
            <pc:sldMk cId="1615006347" sldId="362"/>
            <ac:spMk id="89" creationId="{4EB81216-1F92-8F46-5D5C-B9663901E22E}"/>
          </ac:spMkLst>
        </pc:spChg>
        <pc:spChg chg="add del mod ord replST">
          <ac:chgData name="Tobias Brammer" userId="80a1e1bd-3b82-47a5-b259-da62a397db92" providerId="ADAL" clId="{008C3F84-4C29-4233-992B-2D26DEA7756B}" dt="2023-11-21T08:43:05.114" v="13982"/>
          <ac:spMkLst>
            <pc:docMk/>
            <pc:sldMk cId="1615006347" sldId="362"/>
            <ac:spMk id="90" creationId="{730C6DAB-33B9-5BC0-29D1-7C669001138F}"/>
          </ac:spMkLst>
        </pc:spChg>
        <pc:spChg chg="add del mod ord replST">
          <ac:chgData name="Tobias Brammer" userId="80a1e1bd-3b82-47a5-b259-da62a397db92" providerId="ADAL" clId="{008C3F84-4C29-4233-992B-2D26DEA7756B}" dt="2023-11-21T08:43:05.117" v="13992"/>
          <ac:spMkLst>
            <pc:docMk/>
            <pc:sldMk cId="1615006347" sldId="362"/>
            <ac:spMk id="91" creationId="{FFB59EA9-3C40-33C4-F3BA-58BDC8D53103}"/>
          </ac:spMkLst>
        </pc:spChg>
        <pc:spChg chg="add del mod modVis">
          <ac:chgData name="Tobias Brammer" userId="80a1e1bd-3b82-47a5-b259-da62a397db92" providerId="ADAL" clId="{008C3F84-4C29-4233-992B-2D26DEA7756B}" dt="2023-11-21T08:40:22.002" v="7089"/>
          <ac:spMkLst>
            <pc:docMk/>
            <pc:sldMk cId="1615006347" sldId="362"/>
            <ac:spMk id="92" creationId="{41739A95-4C79-C50B-4845-4CEDE8A92517}"/>
          </ac:spMkLst>
        </pc:spChg>
        <pc:spChg chg="add del mod modVis">
          <ac:chgData name="Tobias Brammer" userId="80a1e1bd-3b82-47a5-b259-da62a397db92" providerId="ADAL" clId="{008C3F84-4C29-4233-992B-2D26DEA7756B}" dt="2023-11-21T08:40:48.228" v="8331" actId="962"/>
          <ac:spMkLst>
            <pc:docMk/>
            <pc:sldMk cId="1615006347" sldId="362"/>
            <ac:spMk id="93" creationId="{1A07C1D3-6199-2509-255A-91BC14F3EB68}"/>
          </ac:spMkLst>
        </pc:spChg>
        <pc:spChg chg="add del mod modVis">
          <ac:chgData name="Tobias Brammer" userId="80a1e1bd-3b82-47a5-b259-da62a397db92" providerId="ADAL" clId="{008C3F84-4C29-4233-992B-2D26DEA7756B}" dt="2023-11-21T08:41:00.335" v="8714"/>
          <ac:spMkLst>
            <pc:docMk/>
            <pc:sldMk cId="1615006347" sldId="362"/>
            <ac:spMk id="94" creationId="{EF4F48CD-353D-8E5B-1F9C-5361C9CEAB51}"/>
          </ac:spMkLst>
        </pc:spChg>
        <pc:spChg chg="add del mod modVis">
          <ac:chgData name="Tobias Brammer" userId="80a1e1bd-3b82-47a5-b259-da62a397db92" providerId="ADAL" clId="{008C3F84-4C29-4233-992B-2D26DEA7756B}" dt="2023-11-21T08:41:12.052" v="10074"/>
          <ac:spMkLst>
            <pc:docMk/>
            <pc:sldMk cId="1615006347" sldId="362"/>
            <ac:spMk id="95" creationId="{C3F43D6E-8DA9-544F-CE2C-F0E046363786}"/>
          </ac:spMkLst>
        </pc:spChg>
        <pc:spChg chg="add del mod modVis">
          <ac:chgData name="Tobias Brammer" userId="80a1e1bd-3b82-47a5-b259-da62a397db92" providerId="ADAL" clId="{008C3F84-4C29-4233-992B-2D26DEA7756B}" dt="2023-11-21T08:41:14.753" v="11016"/>
          <ac:spMkLst>
            <pc:docMk/>
            <pc:sldMk cId="1615006347" sldId="362"/>
            <ac:spMk id="96" creationId="{23D1E293-D57E-243C-5A15-148E9A3234BE}"/>
          </ac:spMkLst>
        </pc:spChg>
        <pc:spChg chg="add del mod modVis">
          <ac:chgData name="Tobias Brammer" userId="80a1e1bd-3b82-47a5-b259-da62a397db92" providerId="ADAL" clId="{008C3F84-4C29-4233-992B-2D26DEA7756B}" dt="2023-11-21T08:41:40.178" v="11472"/>
          <ac:spMkLst>
            <pc:docMk/>
            <pc:sldMk cId="1615006347" sldId="362"/>
            <ac:spMk id="97" creationId="{DEAF5251-20B5-80CA-8510-148A2CDEFCDD}"/>
          </ac:spMkLst>
        </pc:spChg>
        <pc:spChg chg="add mod replST">
          <ac:chgData name="Tobias Brammer" userId="80a1e1bd-3b82-47a5-b259-da62a397db92" providerId="ADAL" clId="{008C3F84-4C29-4233-992B-2D26DEA7756B}" dt="2023-11-21T08:42:08.941" v="11606"/>
          <ac:spMkLst>
            <pc:docMk/>
            <pc:sldMk cId="1615006347" sldId="362"/>
            <ac:spMk id="98" creationId="{05D3608A-C67A-F534-EF39-6549B27F9140}"/>
          </ac:spMkLst>
        </pc:spChg>
        <pc:spChg chg="add del mod modVis">
          <ac:chgData name="Tobias Brammer" userId="80a1e1bd-3b82-47a5-b259-da62a397db92" providerId="ADAL" clId="{008C3F84-4C29-4233-992B-2D26DEA7756B}" dt="2023-11-21T08:42:08.941" v="11606"/>
          <ac:spMkLst>
            <pc:docMk/>
            <pc:sldMk cId="1615006347" sldId="362"/>
            <ac:spMk id="99" creationId="{B8E18191-C19C-4CD6-29F0-CB33853A4AA5}"/>
          </ac:spMkLst>
        </pc:spChg>
        <pc:spChg chg="add del mod modVis">
          <ac:chgData name="Tobias Brammer" userId="80a1e1bd-3b82-47a5-b259-da62a397db92" providerId="ADAL" clId="{008C3F84-4C29-4233-992B-2D26DEA7756B}" dt="2023-11-21T08:42:16.153" v="11870"/>
          <ac:spMkLst>
            <pc:docMk/>
            <pc:sldMk cId="1615006347" sldId="362"/>
            <ac:spMk id="100" creationId="{20FC5F79-5DE5-309A-776D-9447DFA738F3}"/>
          </ac:spMkLst>
        </pc:spChg>
        <pc:spChg chg="add del mod modVis">
          <ac:chgData name="Tobias Brammer" userId="80a1e1bd-3b82-47a5-b259-da62a397db92" providerId="ADAL" clId="{008C3F84-4C29-4233-992B-2D26DEA7756B}" dt="2023-11-21T08:42:17.071" v="11968"/>
          <ac:spMkLst>
            <pc:docMk/>
            <pc:sldMk cId="1615006347" sldId="362"/>
            <ac:spMk id="101" creationId="{2256477C-6043-4B2F-4189-1B5D09FD336F}"/>
          </ac:spMkLst>
        </pc:spChg>
        <pc:spChg chg="add del mod modVis">
          <ac:chgData name="Tobias Brammer" userId="80a1e1bd-3b82-47a5-b259-da62a397db92" providerId="ADAL" clId="{008C3F84-4C29-4233-992B-2D26DEA7756B}" dt="2023-11-21T08:42:18.356" v="12066"/>
          <ac:spMkLst>
            <pc:docMk/>
            <pc:sldMk cId="1615006347" sldId="362"/>
            <ac:spMk id="102" creationId="{D855BCD5-096C-6B6E-0410-82A7BE5E3539}"/>
          </ac:spMkLst>
        </pc:spChg>
        <pc:spChg chg="add del mod modVis">
          <ac:chgData name="Tobias Brammer" userId="80a1e1bd-3b82-47a5-b259-da62a397db92" providerId="ADAL" clId="{008C3F84-4C29-4233-992B-2D26DEA7756B}" dt="2023-11-21T08:42:19.127" v="12164"/>
          <ac:spMkLst>
            <pc:docMk/>
            <pc:sldMk cId="1615006347" sldId="362"/>
            <ac:spMk id="103" creationId="{3CCE4934-0EA0-CF88-270E-D5A4543484AC}"/>
          </ac:spMkLst>
        </pc:spChg>
        <pc:spChg chg="add del mod modVis">
          <ac:chgData name="Tobias Brammer" userId="80a1e1bd-3b82-47a5-b259-da62a397db92" providerId="ADAL" clId="{008C3F84-4C29-4233-992B-2D26DEA7756B}" dt="2023-11-21T08:42:55.249" v="13541"/>
          <ac:spMkLst>
            <pc:docMk/>
            <pc:sldMk cId="1615006347" sldId="362"/>
            <ac:spMk id="104" creationId="{D343A9E3-1A60-AB48-EB22-A6F5517040AA}"/>
          </ac:spMkLst>
        </pc:spChg>
        <pc:spChg chg="add del mod modVis">
          <ac:chgData name="Tobias Brammer" userId="80a1e1bd-3b82-47a5-b259-da62a397db92" providerId="ADAL" clId="{008C3F84-4C29-4233-992B-2D26DEA7756B}" dt="2023-11-21T08:42:57.520" v="13795"/>
          <ac:spMkLst>
            <pc:docMk/>
            <pc:sldMk cId="1615006347" sldId="362"/>
            <ac:spMk id="105" creationId="{F7760823-1326-4C92-0529-EF2A15BE7630}"/>
          </ac:spMkLst>
        </pc:spChg>
        <pc:spChg chg="add del mod modVis">
          <ac:chgData name="Tobias Brammer" userId="80a1e1bd-3b82-47a5-b259-da62a397db92" providerId="ADAL" clId="{008C3F84-4C29-4233-992B-2D26DEA7756B}" dt="2023-11-21T08:42:58.856" v="13947"/>
          <ac:spMkLst>
            <pc:docMk/>
            <pc:sldMk cId="1615006347" sldId="362"/>
            <ac:spMk id="106" creationId="{4F661110-12D2-42B6-A150-AE335A10F964}"/>
          </ac:spMkLst>
        </pc:spChg>
        <pc:spChg chg="add del mod modVis">
          <ac:chgData name="Tobias Brammer" userId="80a1e1bd-3b82-47a5-b259-da62a397db92" providerId="ADAL" clId="{008C3F84-4C29-4233-992B-2D26DEA7756B}" dt="2023-11-21T08:43:05.176" v="14055"/>
          <ac:spMkLst>
            <pc:docMk/>
            <pc:sldMk cId="1615006347" sldId="362"/>
            <ac:spMk id="107" creationId="{95454A4F-8372-7D5F-4530-AFD5DE9CB5AC}"/>
          </ac:spMkLst>
        </pc:spChg>
        <pc:spChg chg="add del mod ord replST">
          <ac:chgData name="Tobias Brammer" userId="80a1e1bd-3b82-47a5-b259-da62a397db92" providerId="ADAL" clId="{008C3F84-4C29-4233-992B-2D26DEA7756B}" dt="2023-11-21T08:46:08.364" v="16203"/>
          <ac:spMkLst>
            <pc:docMk/>
            <pc:sldMk cId="1615006347" sldId="362"/>
            <ac:spMk id="108" creationId="{BA4B6A80-A37F-E342-F053-D53275F89B9D}"/>
          </ac:spMkLst>
        </pc:spChg>
        <pc:spChg chg="add del mod ord replST">
          <ac:chgData name="Tobias Brammer" userId="80a1e1bd-3b82-47a5-b259-da62a397db92" providerId="ADAL" clId="{008C3F84-4C29-4233-992B-2D26DEA7756B}" dt="2023-11-21T08:46:08.380" v="16220"/>
          <ac:spMkLst>
            <pc:docMk/>
            <pc:sldMk cId="1615006347" sldId="362"/>
            <ac:spMk id="109" creationId="{6BE9F7EA-CEBA-23C6-19F2-B7E331B8AB27}"/>
          </ac:spMkLst>
        </pc:spChg>
        <pc:spChg chg="add del mod replST">
          <ac:chgData name="Tobias Brammer" userId="80a1e1bd-3b82-47a5-b259-da62a397db92" providerId="ADAL" clId="{008C3F84-4C29-4233-992B-2D26DEA7756B}" dt="2023-11-21T08:46:08.364" v="16204"/>
          <ac:spMkLst>
            <pc:docMk/>
            <pc:sldMk cId="1615006347" sldId="362"/>
            <ac:spMk id="110" creationId="{EBC58D8C-59BF-531C-2C03-C34239896C14}"/>
          </ac:spMkLst>
        </pc:spChg>
        <pc:spChg chg="add del mod replST">
          <ac:chgData name="Tobias Brammer" userId="80a1e1bd-3b82-47a5-b259-da62a397db92" providerId="ADAL" clId="{008C3F84-4C29-4233-992B-2D26DEA7756B}" dt="2023-11-21T08:46:08.364" v="16205"/>
          <ac:spMkLst>
            <pc:docMk/>
            <pc:sldMk cId="1615006347" sldId="362"/>
            <ac:spMk id="111" creationId="{B6ACAB26-F3E9-94A7-D76E-D70CBF38A347}"/>
          </ac:spMkLst>
        </pc:spChg>
        <pc:spChg chg="add del mod replST">
          <ac:chgData name="Tobias Brammer" userId="80a1e1bd-3b82-47a5-b259-da62a397db92" providerId="ADAL" clId="{008C3F84-4C29-4233-992B-2D26DEA7756B}" dt="2023-11-21T08:46:08.364" v="16206"/>
          <ac:spMkLst>
            <pc:docMk/>
            <pc:sldMk cId="1615006347" sldId="362"/>
            <ac:spMk id="112" creationId="{A9FAC88F-986B-DF48-671C-55C7A02E96F6}"/>
          </ac:spMkLst>
        </pc:spChg>
        <pc:spChg chg="add del mod ord replST">
          <ac:chgData name="Tobias Brammer" userId="80a1e1bd-3b82-47a5-b259-da62a397db92" providerId="ADAL" clId="{008C3F84-4C29-4233-992B-2D26DEA7756B}" dt="2023-11-21T08:46:08.364" v="16208"/>
          <ac:spMkLst>
            <pc:docMk/>
            <pc:sldMk cId="1615006347" sldId="362"/>
            <ac:spMk id="113" creationId="{6BAE1323-3491-86AB-BD4A-7A2681311A27}"/>
          </ac:spMkLst>
        </pc:spChg>
        <pc:spChg chg="add del mod ord replST">
          <ac:chgData name="Tobias Brammer" userId="80a1e1bd-3b82-47a5-b259-da62a397db92" providerId="ADAL" clId="{008C3F84-4C29-4233-992B-2D26DEA7756B}" dt="2023-11-21T08:46:08.364" v="16210"/>
          <ac:spMkLst>
            <pc:docMk/>
            <pc:sldMk cId="1615006347" sldId="362"/>
            <ac:spMk id="114" creationId="{EBA56032-F751-3C14-43D0-9EFB174ED62C}"/>
          </ac:spMkLst>
        </pc:spChg>
        <pc:spChg chg="add del mod ord replST">
          <ac:chgData name="Tobias Brammer" userId="80a1e1bd-3b82-47a5-b259-da62a397db92" providerId="ADAL" clId="{008C3F84-4C29-4233-992B-2D26DEA7756B}" dt="2023-11-21T08:46:08.364" v="16201"/>
          <ac:spMkLst>
            <pc:docMk/>
            <pc:sldMk cId="1615006347" sldId="362"/>
            <ac:spMk id="115" creationId="{16BE71BB-7954-7B1A-549E-A3E7D05DB85F}"/>
          </ac:spMkLst>
        </pc:spChg>
        <pc:spChg chg="add del mod replST">
          <ac:chgData name="Tobias Brammer" userId="80a1e1bd-3b82-47a5-b259-da62a397db92" providerId="ADAL" clId="{008C3F84-4C29-4233-992B-2D26DEA7756B}" dt="2023-11-21T08:46:08.364" v="16211"/>
          <ac:spMkLst>
            <pc:docMk/>
            <pc:sldMk cId="1615006347" sldId="362"/>
            <ac:spMk id="116" creationId="{F5DD1E9F-88EE-5BAA-73DB-F4CF46632D79}"/>
          </ac:spMkLst>
        </pc:spChg>
        <pc:spChg chg="add del mod replST">
          <ac:chgData name="Tobias Brammer" userId="80a1e1bd-3b82-47a5-b259-da62a397db92" providerId="ADAL" clId="{008C3F84-4C29-4233-992B-2D26DEA7756B}" dt="2023-11-21T08:46:08.364" v="16199"/>
          <ac:spMkLst>
            <pc:docMk/>
            <pc:sldMk cId="1615006347" sldId="362"/>
            <ac:spMk id="117" creationId="{2D8CDFCF-864B-C78E-D890-95C15E19505C}"/>
          </ac:spMkLst>
        </pc:spChg>
        <pc:spChg chg="add del mod replST">
          <ac:chgData name="Tobias Brammer" userId="80a1e1bd-3b82-47a5-b259-da62a397db92" providerId="ADAL" clId="{008C3F84-4C29-4233-992B-2D26DEA7756B}" dt="2023-11-21T08:46:08.364" v="16212"/>
          <ac:spMkLst>
            <pc:docMk/>
            <pc:sldMk cId="1615006347" sldId="362"/>
            <ac:spMk id="118" creationId="{297B08A3-AF8B-A842-84C4-2549C67E4689}"/>
          </ac:spMkLst>
        </pc:spChg>
        <pc:spChg chg="add del mod ord replST">
          <ac:chgData name="Tobias Brammer" userId="80a1e1bd-3b82-47a5-b259-da62a397db92" providerId="ADAL" clId="{008C3F84-4C29-4233-992B-2D26DEA7756B}" dt="2023-11-21T08:46:08.364" v="16214"/>
          <ac:spMkLst>
            <pc:docMk/>
            <pc:sldMk cId="1615006347" sldId="362"/>
            <ac:spMk id="119" creationId="{AA2B33BF-5ED0-12BE-41CD-540480518118}"/>
          </ac:spMkLst>
        </pc:spChg>
        <pc:spChg chg="add del mod ord replST">
          <ac:chgData name="Tobias Brammer" userId="80a1e1bd-3b82-47a5-b259-da62a397db92" providerId="ADAL" clId="{008C3F84-4C29-4233-992B-2D26DEA7756B}" dt="2023-11-21T08:46:08.380" v="16216"/>
          <ac:spMkLst>
            <pc:docMk/>
            <pc:sldMk cId="1615006347" sldId="362"/>
            <ac:spMk id="120" creationId="{2E30D5F9-0BEC-5FAA-928B-24C8461DD0AA}"/>
          </ac:spMkLst>
        </pc:spChg>
        <pc:spChg chg="add del mod ord replST">
          <ac:chgData name="Tobias Brammer" userId="80a1e1bd-3b82-47a5-b259-da62a397db92" providerId="ADAL" clId="{008C3F84-4C29-4233-992B-2D26DEA7756B}" dt="2023-11-21T08:46:08.380" v="16218"/>
          <ac:spMkLst>
            <pc:docMk/>
            <pc:sldMk cId="1615006347" sldId="362"/>
            <ac:spMk id="121" creationId="{ABC32BC8-7B61-86DE-38DC-5AF0A8B6EAE8}"/>
          </ac:spMkLst>
        </pc:spChg>
        <pc:spChg chg="add del mod replST">
          <ac:chgData name="Tobias Brammer" userId="80a1e1bd-3b82-47a5-b259-da62a397db92" providerId="ADAL" clId="{008C3F84-4C29-4233-992B-2D26DEA7756B}" dt="2023-11-21T08:46:08.380" v="16221"/>
          <ac:spMkLst>
            <pc:docMk/>
            <pc:sldMk cId="1615006347" sldId="362"/>
            <ac:spMk id="122" creationId="{B9238886-0E14-FA45-744C-FC8736675DE0}"/>
          </ac:spMkLst>
        </pc:spChg>
        <pc:spChg chg="add del mod replST">
          <ac:chgData name="Tobias Brammer" userId="80a1e1bd-3b82-47a5-b259-da62a397db92" providerId="ADAL" clId="{008C3F84-4C29-4233-992B-2D26DEA7756B}" dt="2023-11-21T08:46:08.380" v="16222"/>
          <ac:spMkLst>
            <pc:docMk/>
            <pc:sldMk cId="1615006347" sldId="362"/>
            <ac:spMk id="123" creationId="{94C202E1-E41C-2BE6-DDFB-E6A0B36F1DDA}"/>
          </ac:spMkLst>
        </pc:spChg>
        <pc:spChg chg="add del mod replST">
          <ac:chgData name="Tobias Brammer" userId="80a1e1bd-3b82-47a5-b259-da62a397db92" providerId="ADAL" clId="{008C3F84-4C29-4233-992B-2D26DEA7756B}" dt="2023-11-21T08:46:08.380" v="16236"/>
          <ac:spMkLst>
            <pc:docMk/>
            <pc:sldMk cId="1615006347" sldId="362"/>
            <ac:spMk id="124" creationId="{C031D359-E90A-A884-8815-AEC391713B0A}"/>
          </ac:spMkLst>
        </pc:spChg>
        <pc:spChg chg="add del mod ord replST">
          <ac:chgData name="Tobias Brammer" userId="80a1e1bd-3b82-47a5-b259-da62a397db92" providerId="ADAL" clId="{008C3F84-4C29-4233-992B-2D26DEA7756B}" dt="2023-11-21T08:46:08.380" v="16224"/>
          <ac:spMkLst>
            <pc:docMk/>
            <pc:sldMk cId="1615006347" sldId="362"/>
            <ac:spMk id="125" creationId="{C21CC23A-BD52-D833-34F8-B70B74FD2C8A}"/>
          </ac:spMkLst>
        </pc:spChg>
        <pc:spChg chg="add del mod ord replST">
          <ac:chgData name="Tobias Brammer" userId="80a1e1bd-3b82-47a5-b259-da62a397db92" providerId="ADAL" clId="{008C3F84-4C29-4233-992B-2D26DEA7756B}" dt="2023-11-21T08:46:08.380" v="16227"/>
          <ac:spMkLst>
            <pc:docMk/>
            <pc:sldMk cId="1615006347" sldId="362"/>
            <ac:spMk id="126" creationId="{DA35B1C2-0527-4BA9-4EB5-F91C20488BE6}"/>
          </ac:spMkLst>
        </pc:spChg>
        <pc:spChg chg="add del mod ord replST">
          <ac:chgData name="Tobias Brammer" userId="80a1e1bd-3b82-47a5-b259-da62a397db92" providerId="ADAL" clId="{008C3F84-4C29-4233-992B-2D26DEA7756B}" dt="2023-11-21T08:46:08.380" v="16238"/>
          <ac:spMkLst>
            <pc:docMk/>
            <pc:sldMk cId="1615006347" sldId="362"/>
            <ac:spMk id="127" creationId="{95FE47B7-03A1-A19B-921A-1A0427A1AB63}"/>
          </ac:spMkLst>
        </pc:spChg>
        <pc:spChg chg="add del mod replST">
          <ac:chgData name="Tobias Brammer" userId="80a1e1bd-3b82-47a5-b259-da62a397db92" providerId="ADAL" clId="{008C3F84-4C29-4233-992B-2D26DEA7756B}" dt="2023-11-21T08:46:08.380" v="16240"/>
          <ac:spMkLst>
            <pc:docMk/>
            <pc:sldMk cId="1615006347" sldId="362"/>
            <ac:spMk id="128" creationId="{AA02E05F-6186-E1D4-304E-B4F4A47BA16F}"/>
          </ac:spMkLst>
        </pc:spChg>
        <pc:spChg chg="add del mod replST">
          <ac:chgData name="Tobias Brammer" userId="80a1e1bd-3b82-47a5-b259-da62a397db92" providerId="ADAL" clId="{008C3F84-4C29-4233-992B-2D26DEA7756B}" dt="2023-11-21T08:46:08.380" v="16232"/>
          <ac:spMkLst>
            <pc:docMk/>
            <pc:sldMk cId="1615006347" sldId="362"/>
            <ac:spMk id="129" creationId="{3C8196F4-2436-1275-DFA7-0040BEBE2F73}"/>
          </ac:spMkLst>
        </pc:spChg>
        <pc:spChg chg="add del mod replST">
          <ac:chgData name="Tobias Brammer" userId="80a1e1bd-3b82-47a5-b259-da62a397db92" providerId="ADAL" clId="{008C3F84-4C29-4233-992B-2D26DEA7756B}" dt="2023-11-21T08:46:08.380" v="16225"/>
          <ac:spMkLst>
            <pc:docMk/>
            <pc:sldMk cId="1615006347" sldId="362"/>
            <ac:spMk id="130" creationId="{46E64481-EA5E-5CEA-229F-30235C43B286}"/>
          </ac:spMkLst>
        </pc:spChg>
        <pc:spChg chg="add del mod ord replST">
          <ac:chgData name="Tobias Brammer" userId="80a1e1bd-3b82-47a5-b259-da62a397db92" providerId="ADAL" clId="{008C3F84-4C29-4233-992B-2D26DEA7756B}" dt="2023-11-21T08:46:08.380" v="16229"/>
          <ac:spMkLst>
            <pc:docMk/>
            <pc:sldMk cId="1615006347" sldId="362"/>
            <ac:spMk id="131" creationId="{30A12A99-E127-BFBF-04C6-C2FBC242B323}"/>
          </ac:spMkLst>
        </pc:spChg>
        <pc:spChg chg="add del mod ord replST">
          <ac:chgData name="Tobias Brammer" userId="80a1e1bd-3b82-47a5-b259-da62a397db92" providerId="ADAL" clId="{008C3F84-4C29-4233-992B-2D26DEA7756B}" dt="2023-11-21T08:46:08.380" v="16231"/>
          <ac:spMkLst>
            <pc:docMk/>
            <pc:sldMk cId="1615006347" sldId="362"/>
            <ac:spMk id="132" creationId="{841E9BDF-E1B2-F968-BD4E-9713834979B2}"/>
          </ac:spMkLst>
        </pc:spChg>
        <pc:spChg chg="add del mod ord replST">
          <ac:chgData name="Tobias Brammer" userId="80a1e1bd-3b82-47a5-b259-da62a397db92" providerId="ADAL" clId="{008C3F84-4C29-4233-992B-2D26DEA7756B}" dt="2023-11-21T08:46:08.380" v="16234"/>
          <ac:spMkLst>
            <pc:docMk/>
            <pc:sldMk cId="1615006347" sldId="362"/>
            <ac:spMk id="133" creationId="{6A574F1A-2C19-6676-7E75-3AD7DFBB3682}"/>
          </ac:spMkLst>
        </pc:spChg>
        <pc:spChg chg="add del mod replST">
          <ac:chgData name="Tobias Brammer" userId="80a1e1bd-3b82-47a5-b259-da62a397db92" providerId="ADAL" clId="{008C3F84-4C29-4233-992B-2D26DEA7756B}" dt="2023-11-21T08:46:08.380" v="16239"/>
          <ac:spMkLst>
            <pc:docMk/>
            <pc:sldMk cId="1615006347" sldId="362"/>
            <ac:spMk id="134" creationId="{0F6976C6-A198-9197-DD0F-4F044A4581E3}"/>
          </ac:spMkLst>
        </pc:spChg>
        <pc:spChg chg="add del mod replST">
          <ac:chgData name="Tobias Brammer" userId="80a1e1bd-3b82-47a5-b259-da62a397db92" providerId="ADAL" clId="{008C3F84-4C29-4233-992B-2D26DEA7756B}" dt="2023-11-21T08:46:08.380" v="16235"/>
          <ac:spMkLst>
            <pc:docMk/>
            <pc:sldMk cId="1615006347" sldId="362"/>
            <ac:spMk id="135" creationId="{C51F5442-38C7-CD65-4AF1-0B70F254D710}"/>
          </ac:spMkLst>
        </pc:spChg>
        <pc:spChg chg="add del mod replST">
          <ac:chgData name="Tobias Brammer" userId="80a1e1bd-3b82-47a5-b259-da62a397db92" providerId="ADAL" clId="{008C3F84-4C29-4233-992B-2D26DEA7756B}" dt="2023-11-21T08:46:08.333" v="16164"/>
          <ac:spMkLst>
            <pc:docMk/>
            <pc:sldMk cId="1615006347" sldId="362"/>
            <ac:spMk id="136" creationId="{3E609CED-C12C-ADE3-32EF-DB7D1C9635FF}"/>
          </ac:spMkLst>
        </pc:spChg>
        <pc:spChg chg="add del mod ord replST">
          <ac:chgData name="Tobias Brammer" userId="80a1e1bd-3b82-47a5-b259-da62a397db92" providerId="ADAL" clId="{008C3F84-4C29-4233-992B-2D26DEA7756B}" dt="2023-11-21T08:46:08.348" v="16171"/>
          <ac:spMkLst>
            <pc:docMk/>
            <pc:sldMk cId="1615006347" sldId="362"/>
            <ac:spMk id="137" creationId="{40549BC3-F60B-D35F-C8EE-D1340F3B85A5}"/>
          </ac:spMkLst>
        </pc:spChg>
        <pc:spChg chg="add del mod ord replST">
          <ac:chgData name="Tobias Brammer" userId="80a1e1bd-3b82-47a5-b259-da62a397db92" providerId="ADAL" clId="{008C3F84-4C29-4233-992B-2D26DEA7756B}" dt="2023-11-21T08:46:08.348" v="16166"/>
          <ac:spMkLst>
            <pc:docMk/>
            <pc:sldMk cId="1615006347" sldId="362"/>
            <ac:spMk id="138" creationId="{69E5967D-1B43-CAAF-510B-67428009B385}"/>
          </ac:spMkLst>
        </pc:spChg>
        <pc:spChg chg="add del mod ord replST">
          <ac:chgData name="Tobias Brammer" userId="80a1e1bd-3b82-47a5-b259-da62a397db92" providerId="ADAL" clId="{008C3F84-4C29-4233-992B-2D26DEA7756B}" dt="2023-11-21T08:46:08.348" v="16173"/>
          <ac:spMkLst>
            <pc:docMk/>
            <pc:sldMk cId="1615006347" sldId="362"/>
            <ac:spMk id="139" creationId="{72A6DB28-7567-1AE2-B45A-FB7E266FC0FE}"/>
          </ac:spMkLst>
        </pc:spChg>
        <pc:spChg chg="add del mod replST">
          <ac:chgData name="Tobias Brammer" userId="80a1e1bd-3b82-47a5-b259-da62a397db92" providerId="ADAL" clId="{008C3F84-4C29-4233-992B-2D26DEA7756B}" dt="2023-11-21T08:46:08.348" v="16167"/>
          <ac:spMkLst>
            <pc:docMk/>
            <pc:sldMk cId="1615006347" sldId="362"/>
            <ac:spMk id="140" creationId="{06D84AF2-90CD-B5F6-A537-C12C102F1967}"/>
          </ac:spMkLst>
        </pc:spChg>
        <pc:spChg chg="add del mod replST">
          <ac:chgData name="Tobias Brammer" userId="80a1e1bd-3b82-47a5-b259-da62a397db92" providerId="ADAL" clId="{008C3F84-4C29-4233-992B-2D26DEA7756B}" dt="2023-11-21T08:46:08.348" v="16168"/>
          <ac:spMkLst>
            <pc:docMk/>
            <pc:sldMk cId="1615006347" sldId="362"/>
            <ac:spMk id="141" creationId="{639849E4-4C76-8823-7C93-5F439FA34CFA}"/>
          </ac:spMkLst>
        </pc:spChg>
        <pc:spChg chg="add del mod replST">
          <ac:chgData name="Tobias Brammer" userId="80a1e1bd-3b82-47a5-b259-da62a397db92" providerId="ADAL" clId="{008C3F84-4C29-4233-992B-2D26DEA7756B}" dt="2023-11-21T08:46:08.348" v="16169"/>
          <ac:spMkLst>
            <pc:docMk/>
            <pc:sldMk cId="1615006347" sldId="362"/>
            <ac:spMk id="142" creationId="{BC0DCE01-302C-E1BC-99CD-EB7691357C77}"/>
          </ac:spMkLst>
        </pc:spChg>
        <pc:spChg chg="add del mod ord replST">
          <ac:chgData name="Tobias Brammer" userId="80a1e1bd-3b82-47a5-b259-da62a397db92" providerId="ADAL" clId="{008C3F84-4C29-4233-992B-2D26DEA7756B}" dt="2023-11-21T08:46:08.348" v="16175"/>
          <ac:spMkLst>
            <pc:docMk/>
            <pc:sldMk cId="1615006347" sldId="362"/>
            <ac:spMk id="143" creationId="{366A1A68-810D-0CDD-B2A1-827B1D4F97F9}"/>
          </ac:spMkLst>
        </pc:spChg>
        <pc:spChg chg="add del mod ord replST">
          <ac:chgData name="Tobias Brammer" userId="80a1e1bd-3b82-47a5-b259-da62a397db92" providerId="ADAL" clId="{008C3F84-4C29-4233-992B-2D26DEA7756B}" dt="2023-11-21T08:46:08.348" v="16177"/>
          <ac:spMkLst>
            <pc:docMk/>
            <pc:sldMk cId="1615006347" sldId="362"/>
            <ac:spMk id="144" creationId="{D1ACED57-EC9A-580A-0B17-73C12E271E91}"/>
          </ac:spMkLst>
        </pc:spChg>
        <pc:spChg chg="add del mod ord replST">
          <ac:chgData name="Tobias Brammer" userId="80a1e1bd-3b82-47a5-b259-da62a397db92" providerId="ADAL" clId="{008C3F84-4C29-4233-992B-2D26DEA7756B}" dt="2023-11-21T08:46:08.348" v="16179"/>
          <ac:spMkLst>
            <pc:docMk/>
            <pc:sldMk cId="1615006347" sldId="362"/>
            <ac:spMk id="145" creationId="{E006E5ED-C04E-05B2-2411-0CDA81A9BD94}"/>
          </ac:spMkLst>
        </pc:spChg>
        <pc:spChg chg="add del mod replST">
          <ac:chgData name="Tobias Brammer" userId="80a1e1bd-3b82-47a5-b259-da62a397db92" providerId="ADAL" clId="{008C3F84-4C29-4233-992B-2D26DEA7756B}" dt="2023-11-21T08:46:08.348" v="16191"/>
          <ac:spMkLst>
            <pc:docMk/>
            <pc:sldMk cId="1615006347" sldId="362"/>
            <ac:spMk id="146" creationId="{BE103359-84D2-CCB9-C3D1-8F9F55B72709}"/>
          </ac:spMkLst>
        </pc:spChg>
        <pc:spChg chg="add del mod replST">
          <ac:chgData name="Tobias Brammer" userId="80a1e1bd-3b82-47a5-b259-da62a397db92" providerId="ADAL" clId="{008C3F84-4C29-4233-992B-2D26DEA7756B}" dt="2023-11-21T08:46:08.364" v="16192"/>
          <ac:spMkLst>
            <pc:docMk/>
            <pc:sldMk cId="1615006347" sldId="362"/>
            <ac:spMk id="147" creationId="{D99F6490-9FD7-3EF7-B2EE-F9E64460FF4B}"/>
          </ac:spMkLst>
        </pc:spChg>
        <pc:spChg chg="add del mod replST">
          <ac:chgData name="Tobias Brammer" userId="80a1e1bd-3b82-47a5-b259-da62a397db92" providerId="ADAL" clId="{008C3F84-4C29-4233-992B-2D26DEA7756B}" dt="2023-11-21T08:46:08.364" v="16193"/>
          <ac:spMkLst>
            <pc:docMk/>
            <pc:sldMk cId="1615006347" sldId="362"/>
            <ac:spMk id="148" creationId="{19583DD5-DEC5-8C66-9035-EE9EFE4517C1}"/>
          </ac:spMkLst>
        </pc:spChg>
        <pc:spChg chg="add del mod ord replST">
          <ac:chgData name="Tobias Brammer" userId="80a1e1bd-3b82-47a5-b259-da62a397db92" providerId="ADAL" clId="{008C3F84-4C29-4233-992B-2D26DEA7756B}" dt="2023-11-21T08:46:08.348" v="16186"/>
          <ac:spMkLst>
            <pc:docMk/>
            <pc:sldMk cId="1615006347" sldId="362"/>
            <ac:spMk id="149" creationId="{D80B30F8-CCE2-4593-573F-50D505F64EE6}"/>
          </ac:spMkLst>
        </pc:spChg>
        <pc:spChg chg="add del mod ord replST">
          <ac:chgData name="Tobias Brammer" userId="80a1e1bd-3b82-47a5-b259-da62a397db92" providerId="ADAL" clId="{008C3F84-4C29-4233-992B-2D26DEA7756B}" dt="2023-11-21T08:46:08.364" v="16195"/>
          <ac:spMkLst>
            <pc:docMk/>
            <pc:sldMk cId="1615006347" sldId="362"/>
            <ac:spMk id="150" creationId="{BA783285-C54E-B738-BDCC-42AA92F1ABCC}"/>
          </ac:spMkLst>
        </pc:spChg>
        <pc:spChg chg="add del mod ord replST">
          <ac:chgData name="Tobias Brammer" userId="80a1e1bd-3b82-47a5-b259-da62a397db92" providerId="ADAL" clId="{008C3F84-4C29-4233-992B-2D26DEA7756B}" dt="2023-11-21T08:46:08.348" v="16188"/>
          <ac:spMkLst>
            <pc:docMk/>
            <pc:sldMk cId="1615006347" sldId="362"/>
            <ac:spMk id="151" creationId="{F4733144-1BE7-851C-7291-E8CB2305A9DD}"/>
          </ac:spMkLst>
        </pc:spChg>
        <pc:spChg chg="add del mod replST">
          <ac:chgData name="Tobias Brammer" userId="80a1e1bd-3b82-47a5-b259-da62a397db92" providerId="ADAL" clId="{008C3F84-4C29-4233-992B-2D26DEA7756B}" dt="2023-11-21T08:46:08.348" v="16189"/>
          <ac:spMkLst>
            <pc:docMk/>
            <pc:sldMk cId="1615006347" sldId="362"/>
            <ac:spMk id="152" creationId="{4E14C54B-D7AD-F100-F28E-8E9C43947C94}"/>
          </ac:spMkLst>
        </pc:spChg>
        <pc:spChg chg="add del mod replST">
          <ac:chgData name="Tobias Brammer" userId="80a1e1bd-3b82-47a5-b259-da62a397db92" providerId="ADAL" clId="{008C3F84-4C29-4233-992B-2D26DEA7756B}" dt="2023-11-21T08:46:08.348" v="16190"/>
          <ac:spMkLst>
            <pc:docMk/>
            <pc:sldMk cId="1615006347" sldId="362"/>
            <ac:spMk id="153" creationId="{737F9D41-B394-8662-AD8B-CC01D975AB21}"/>
          </ac:spMkLst>
        </pc:spChg>
        <pc:spChg chg="add del mod replST">
          <ac:chgData name="Tobias Brammer" userId="80a1e1bd-3b82-47a5-b259-da62a397db92" providerId="ADAL" clId="{008C3F84-4C29-4233-992B-2D26DEA7756B}" dt="2023-11-21T08:46:08.348" v="16184"/>
          <ac:spMkLst>
            <pc:docMk/>
            <pc:sldMk cId="1615006347" sldId="362"/>
            <ac:spMk id="154" creationId="{4EE3F4B5-C940-99CB-0115-F894F637949E}"/>
          </ac:spMkLst>
        </pc:spChg>
        <pc:spChg chg="add del mod ord replST">
          <ac:chgData name="Tobias Brammer" userId="80a1e1bd-3b82-47a5-b259-da62a397db92" providerId="ADAL" clId="{008C3F84-4C29-4233-992B-2D26DEA7756B}" dt="2023-11-21T08:46:08.348" v="16181"/>
          <ac:spMkLst>
            <pc:docMk/>
            <pc:sldMk cId="1615006347" sldId="362"/>
            <ac:spMk id="155" creationId="{D54E4DA6-39DF-BE84-F082-D240C4556515}"/>
          </ac:spMkLst>
        </pc:spChg>
        <pc:spChg chg="add del mod ord replST">
          <ac:chgData name="Tobias Brammer" userId="80a1e1bd-3b82-47a5-b259-da62a397db92" providerId="ADAL" clId="{008C3F84-4C29-4233-992B-2D26DEA7756B}" dt="2023-11-21T08:46:08.348" v="16183"/>
          <ac:spMkLst>
            <pc:docMk/>
            <pc:sldMk cId="1615006347" sldId="362"/>
            <ac:spMk id="156" creationId="{25DC41C2-11EE-B0A2-9F74-F410081C8A38}"/>
          </ac:spMkLst>
        </pc:spChg>
        <pc:spChg chg="add del mod ord replST">
          <ac:chgData name="Tobias Brammer" userId="80a1e1bd-3b82-47a5-b259-da62a397db92" providerId="ADAL" clId="{008C3F84-4C29-4233-992B-2D26DEA7756B}" dt="2023-11-21T08:46:08.333" v="16162"/>
          <ac:spMkLst>
            <pc:docMk/>
            <pc:sldMk cId="1615006347" sldId="362"/>
            <ac:spMk id="157" creationId="{CCDAD261-3B73-F2EB-9303-051A6809D7C1}"/>
          </ac:spMkLst>
        </pc:spChg>
        <pc:spChg chg="add del mod replST">
          <ac:chgData name="Tobias Brammer" userId="80a1e1bd-3b82-47a5-b259-da62a397db92" providerId="ADAL" clId="{008C3F84-4C29-4233-992B-2D26DEA7756B}" dt="2023-11-21T08:46:08.333" v="16163"/>
          <ac:spMkLst>
            <pc:docMk/>
            <pc:sldMk cId="1615006347" sldId="362"/>
            <ac:spMk id="158" creationId="{EB030400-F921-1517-ED2A-45BDCC273DEA}"/>
          </ac:spMkLst>
        </pc:spChg>
        <pc:spChg chg="add del mod replST">
          <ac:chgData name="Tobias Brammer" userId="80a1e1bd-3b82-47a5-b259-da62a397db92" providerId="ADAL" clId="{008C3F84-4C29-4233-992B-2D26DEA7756B}" dt="2023-11-21T08:46:08.380" v="16241"/>
          <ac:spMkLst>
            <pc:docMk/>
            <pc:sldMk cId="1615006347" sldId="362"/>
            <ac:spMk id="159" creationId="{41672331-9953-FC6D-1A6E-DA7D7854ED26}"/>
          </ac:spMkLst>
        </pc:spChg>
        <pc:spChg chg="add del mod replST">
          <ac:chgData name="Tobias Brammer" userId="80a1e1bd-3b82-47a5-b259-da62a397db92" providerId="ADAL" clId="{008C3F84-4C29-4233-992B-2D26DEA7756B}" dt="2023-11-21T08:46:08.380" v="16244"/>
          <ac:spMkLst>
            <pc:docMk/>
            <pc:sldMk cId="1615006347" sldId="362"/>
            <ac:spMk id="160" creationId="{BCD49B9C-3069-1412-6615-09E4B0A70073}"/>
          </ac:spMkLst>
        </pc:spChg>
        <pc:spChg chg="add del mod ord replST">
          <ac:chgData name="Tobias Brammer" userId="80a1e1bd-3b82-47a5-b259-da62a397db92" providerId="ADAL" clId="{008C3F84-4C29-4233-992B-2D26DEA7756B}" dt="2023-11-21T08:46:08.380" v="16243"/>
          <ac:spMkLst>
            <pc:docMk/>
            <pc:sldMk cId="1615006347" sldId="362"/>
            <ac:spMk id="161" creationId="{4847032B-635C-3063-1DCE-8FF10595B2DA}"/>
          </ac:spMkLst>
        </pc:spChg>
        <pc:spChg chg="add del mod ord replST">
          <ac:chgData name="Tobias Brammer" userId="80a1e1bd-3b82-47a5-b259-da62a397db92" providerId="ADAL" clId="{008C3F84-4C29-4233-992B-2D26DEA7756B}" dt="2023-11-21T08:46:08.395" v="16247"/>
          <ac:spMkLst>
            <pc:docMk/>
            <pc:sldMk cId="1615006347" sldId="362"/>
            <ac:spMk id="162" creationId="{38176E07-49FC-1AA4-A538-694821A5AD10}"/>
          </ac:spMkLst>
        </pc:spChg>
        <pc:spChg chg="add del mod ord replST">
          <ac:chgData name="Tobias Brammer" userId="80a1e1bd-3b82-47a5-b259-da62a397db92" providerId="ADAL" clId="{008C3F84-4C29-4233-992B-2D26DEA7756B}" dt="2023-11-21T08:46:08.395" v="16250"/>
          <ac:spMkLst>
            <pc:docMk/>
            <pc:sldMk cId="1615006347" sldId="362"/>
            <ac:spMk id="163" creationId="{A1FA363D-3D5F-0B3B-ED65-A24173621933}"/>
          </ac:spMkLst>
        </pc:spChg>
        <pc:spChg chg="add del mod replST">
          <ac:chgData name="Tobias Brammer" userId="80a1e1bd-3b82-47a5-b259-da62a397db92" providerId="ADAL" clId="{008C3F84-4C29-4233-992B-2D26DEA7756B}" dt="2023-11-21T08:46:08.380" v="16245"/>
          <ac:spMkLst>
            <pc:docMk/>
            <pc:sldMk cId="1615006347" sldId="362"/>
            <ac:spMk id="164" creationId="{8BE47C55-7C4A-6AF3-8479-25C1265DE0FE}"/>
          </ac:spMkLst>
        </pc:spChg>
        <pc:spChg chg="add del mod replST">
          <ac:chgData name="Tobias Brammer" userId="80a1e1bd-3b82-47a5-b259-da62a397db92" providerId="ADAL" clId="{008C3F84-4C29-4233-992B-2D26DEA7756B}" dt="2023-11-21T08:46:08.395" v="16248"/>
          <ac:spMkLst>
            <pc:docMk/>
            <pc:sldMk cId="1615006347" sldId="362"/>
            <ac:spMk id="165" creationId="{17F98E77-E249-177D-A84E-3ABD4FDAAB3E}"/>
          </ac:spMkLst>
        </pc:spChg>
        <pc:spChg chg="add del mod replST">
          <ac:chgData name="Tobias Brammer" userId="80a1e1bd-3b82-47a5-b259-da62a397db92" providerId="ADAL" clId="{008C3F84-4C29-4233-992B-2D26DEA7756B}" dt="2023-11-21T08:46:08.395" v="16251"/>
          <ac:spMkLst>
            <pc:docMk/>
            <pc:sldMk cId="1615006347" sldId="362"/>
            <ac:spMk id="166" creationId="{EE893D8B-B534-0F91-5632-195575C555DB}"/>
          </ac:spMkLst>
        </pc:spChg>
        <pc:spChg chg="add del mod modVis">
          <ac:chgData name="Tobias Brammer" userId="80a1e1bd-3b82-47a5-b259-da62a397db92" providerId="ADAL" clId="{008C3F84-4C29-4233-992B-2D26DEA7756B}" dt="2023-11-21T08:43:08.324" v="15760"/>
          <ac:spMkLst>
            <pc:docMk/>
            <pc:sldMk cId="1615006347" sldId="362"/>
            <ac:spMk id="167" creationId="{7137D077-6F3E-288B-41EE-3346A5B4C2D6}"/>
          </ac:spMkLst>
        </pc:spChg>
        <pc:spChg chg="add del mod ord replST">
          <ac:chgData name="Tobias Brammer" userId="80a1e1bd-3b82-47a5-b259-da62a397db92" providerId="ADAL" clId="{008C3F84-4C29-4233-992B-2D26DEA7756B}" dt="2023-11-21T08:46:08.364" v="16197"/>
          <ac:spMkLst>
            <pc:docMk/>
            <pc:sldMk cId="1615006347" sldId="362"/>
            <ac:spMk id="168" creationId="{3D4967B4-0380-D9FE-5057-BFEABEFFE9B6}"/>
          </ac:spMkLst>
        </pc:spChg>
        <pc:spChg chg="add del mod replST">
          <ac:chgData name="Tobias Brammer" userId="80a1e1bd-3b82-47a5-b259-da62a397db92" providerId="ADAL" clId="{008C3F84-4C29-4233-992B-2D26DEA7756B}" dt="2023-11-21T08:46:08.364" v="16198"/>
          <ac:spMkLst>
            <pc:docMk/>
            <pc:sldMk cId="1615006347" sldId="362"/>
            <ac:spMk id="169" creationId="{086256BD-BC79-DF36-0C1C-FBFEDD630501}"/>
          </ac:spMkLst>
        </pc:spChg>
        <pc:graphicFrameChg chg="add del mod">
          <ac:chgData name="Tobias Brammer" userId="80a1e1bd-3b82-47a5-b259-da62a397db92" providerId="ADAL" clId="{008C3F84-4C29-4233-992B-2D26DEA7756B}" dt="2023-11-21T08:29:58.774" v="4293" actId="478"/>
          <ac:graphicFrameMkLst>
            <pc:docMk/>
            <pc:sldMk cId="1615006347" sldId="362"/>
            <ac:graphicFrameMk id="3" creationId="{F3AAB8D2-C14F-3FC0-DC1E-61FE2CF5EAAD}"/>
          </ac:graphicFrameMkLst>
        </pc:graphicFrameChg>
        <pc:graphicFrameChg chg="mod">
          <ac:chgData name="Tobias Brammer" userId="80a1e1bd-3b82-47a5-b259-da62a397db92" providerId="ADAL" clId="{008C3F84-4C29-4233-992B-2D26DEA7756B}" dt="2023-11-21T08:46:08.411" v="16256"/>
          <ac:graphicFrameMkLst>
            <pc:docMk/>
            <pc:sldMk cId="1615006347" sldId="362"/>
            <ac:graphicFrameMk id="4" creationId="{79C05AFC-9555-D40C-AD9D-3E13BD0A4FC2}"/>
          </ac:graphicFrameMkLst>
        </pc:graphicFrameChg>
        <pc:graphicFrameChg chg="add del mod">
          <ac:chgData name="Tobias Brammer" userId="80a1e1bd-3b82-47a5-b259-da62a397db92" providerId="ADAL" clId="{008C3F84-4C29-4233-992B-2D26DEA7756B}" dt="2023-11-21T08:30:49.741" v="4301" actId="478"/>
          <ac:graphicFrameMkLst>
            <pc:docMk/>
            <pc:sldMk cId="1615006347" sldId="362"/>
            <ac:graphicFrameMk id="6" creationId="{BDE69E2E-396D-3D50-A60E-A7DAB90CF06E}"/>
          </ac:graphicFrameMkLst>
        </pc:graphicFrameChg>
        <pc:graphicFrameChg chg="add del mod">
          <ac:chgData name="Tobias Brammer" userId="80a1e1bd-3b82-47a5-b259-da62a397db92" providerId="ADAL" clId="{008C3F84-4C29-4233-992B-2D26DEA7756B}" dt="2023-11-21T08:30:59.320" v="4304" actId="478"/>
          <ac:graphicFrameMkLst>
            <pc:docMk/>
            <pc:sldMk cId="1615006347" sldId="362"/>
            <ac:graphicFrameMk id="7" creationId="{551644F5-6071-A757-AAC2-169E6A3A5E89}"/>
          </ac:graphicFrameMkLst>
        </pc:graphicFrameChg>
        <pc:graphicFrameChg chg="add del mod">
          <ac:chgData name="Tobias Brammer" userId="80a1e1bd-3b82-47a5-b259-da62a397db92" providerId="ADAL" clId="{008C3F84-4C29-4233-992B-2D26DEA7756B}" dt="2023-11-21T08:38:39.302" v="4359" actId="478"/>
          <ac:graphicFrameMkLst>
            <pc:docMk/>
            <pc:sldMk cId="1615006347" sldId="362"/>
            <ac:graphicFrameMk id="10" creationId="{280A25E3-20F3-20F4-4E6F-186CEAE2C30A}"/>
          </ac:graphicFrameMkLst>
        </pc:graphicFrameChg>
        <pc:graphicFrameChg chg="add del mod">
          <ac:chgData name="Tobias Brammer" userId="80a1e1bd-3b82-47a5-b259-da62a397db92" providerId="ADAL" clId="{008C3F84-4C29-4233-992B-2D26DEA7756B}" dt="2023-11-21T08:33:34.437" v="4321"/>
          <ac:graphicFrameMkLst>
            <pc:docMk/>
            <pc:sldMk cId="1615006347" sldId="362"/>
            <ac:graphicFrameMk id="11" creationId="{5CB4FE3B-617A-B904-AB56-BA0B1215841A}"/>
          </ac:graphicFrameMkLst>
        </pc:graphicFrameChg>
        <pc:graphicFrameChg chg="add del mod">
          <ac:chgData name="Tobias Brammer" userId="80a1e1bd-3b82-47a5-b259-da62a397db92" providerId="ADAL" clId="{008C3F84-4C29-4233-992B-2D26DEA7756B}" dt="2023-11-21T08:34:42.219" v="4336" actId="478"/>
          <ac:graphicFrameMkLst>
            <pc:docMk/>
            <pc:sldMk cId="1615006347" sldId="362"/>
            <ac:graphicFrameMk id="13" creationId="{55FE0516-283C-0C0A-A7C4-9165CAA591C0}"/>
          </ac:graphicFrameMkLst>
        </pc:graphicFrameChg>
        <pc:graphicFrameChg chg="add del mod">
          <ac:chgData name="Tobias Brammer" userId="80a1e1bd-3b82-47a5-b259-da62a397db92" providerId="ADAL" clId="{008C3F84-4C29-4233-992B-2D26DEA7756B}" dt="2023-11-21T08:35:16.251" v="4348"/>
          <ac:graphicFrameMkLst>
            <pc:docMk/>
            <pc:sldMk cId="1615006347" sldId="362"/>
            <ac:graphicFrameMk id="14" creationId="{FFA52B33-9CBD-8492-47B0-D507DDC43049}"/>
          </ac:graphicFrameMkLst>
        </pc:graphicFrameChg>
        <pc:graphicFrameChg chg="add del mod">
          <ac:chgData name="Tobias Brammer" userId="80a1e1bd-3b82-47a5-b259-da62a397db92" providerId="ADAL" clId="{008C3F84-4C29-4233-992B-2D26DEA7756B}" dt="2023-11-21T08:37:13.052" v="4355" actId="478"/>
          <ac:graphicFrameMkLst>
            <pc:docMk/>
            <pc:sldMk cId="1615006347" sldId="362"/>
            <ac:graphicFrameMk id="15" creationId="{2D6EA6F2-D35F-589E-5D87-97B76DC80FB6}"/>
          </ac:graphicFrameMkLst>
        </pc:graphicFrameChg>
        <pc:graphicFrameChg chg="add del mod">
          <ac:chgData name="Tobias Brammer" userId="80a1e1bd-3b82-47a5-b259-da62a397db92" providerId="ADAL" clId="{008C3F84-4C29-4233-992B-2D26DEA7756B}" dt="2023-11-21T08:38:51.623" v="4363" actId="478"/>
          <ac:graphicFrameMkLst>
            <pc:docMk/>
            <pc:sldMk cId="1615006347" sldId="362"/>
            <ac:graphicFrameMk id="16" creationId="{7813C424-8DBA-AA59-C72F-27AF01EEA738}"/>
          </ac:graphicFrameMkLst>
        </pc:graphicFrameChg>
        <pc:picChg chg="del">
          <ac:chgData name="Tobias Brammer" userId="80a1e1bd-3b82-47a5-b259-da62a397db92" providerId="ADAL" clId="{008C3F84-4C29-4233-992B-2D26DEA7756B}" dt="2023-11-21T08:24:08.486" v="4237" actId="478"/>
          <ac:picMkLst>
            <pc:docMk/>
            <pc:sldMk cId="1615006347" sldId="362"/>
            <ac:picMk id="12" creationId="{BC45735F-E063-4678-D02A-CBB56F461006}"/>
          </ac:picMkLst>
        </pc:picChg>
      </pc:sldChg>
      <pc:sldChg chg="modSp add mod">
        <pc:chgData name="Tobias Brammer" userId="80a1e1bd-3b82-47a5-b259-da62a397db92" providerId="ADAL" clId="{008C3F84-4C29-4233-992B-2D26DEA7756B}" dt="2023-11-21T09:03:56.316" v="17306" actId="20577"/>
        <pc:sldMkLst>
          <pc:docMk/>
          <pc:sldMk cId="3070627113" sldId="362"/>
        </pc:sldMkLst>
        <pc:spChg chg="mod">
          <ac:chgData name="Tobias Brammer" userId="80a1e1bd-3b82-47a5-b259-da62a397db92" providerId="ADAL" clId="{008C3F84-4C29-4233-992B-2D26DEA7756B}" dt="2023-11-21T09:03:56.316" v="17306" actId="20577"/>
          <ac:spMkLst>
            <pc:docMk/>
            <pc:sldMk cId="3070627113" sldId="362"/>
            <ac:spMk id="8" creationId="{9974A259-DC86-27AE-073B-E1B51784896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21-11-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21-11-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11378584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 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3443843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15953758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itUr Domicil</a:t>
            </a:r>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1364864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itUr Domicil</a:t>
            </a:r>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102092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0</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1</a:t>
            </a:fld>
            <a:endParaRPr lang="da-DK" dirty="0"/>
          </a:p>
        </p:txBody>
      </p:sp>
    </p:spTree>
    <p:extLst>
      <p:ext uri="{BB962C8B-B14F-4D97-AF65-F5344CB8AC3E}">
        <p14:creationId xmlns:p14="http://schemas.microsoft.com/office/powerpoint/2010/main" val="391067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2</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3</a:t>
            </a:fld>
            <a:endParaRPr lang="da-DK" dirty="0"/>
          </a:p>
        </p:txBody>
      </p:sp>
    </p:spTree>
    <p:extLst>
      <p:ext uri="{BB962C8B-B14F-4D97-AF65-F5344CB8AC3E}">
        <p14:creationId xmlns:p14="http://schemas.microsoft.com/office/powerpoint/2010/main" val="23819568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4</a:t>
            </a:fld>
            <a:endParaRPr lang="da-DK" dirty="0"/>
          </a:p>
        </p:txBody>
      </p:sp>
    </p:spTree>
    <p:extLst>
      <p:ext uri="{BB962C8B-B14F-4D97-AF65-F5344CB8AC3E}">
        <p14:creationId xmlns:p14="http://schemas.microsoft.com/office/powerpoint/2010/main" val="23608940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6</a:t>
            </a:fld>
            <a:endParaRPr lang="da-DK" dirty="0"/>
          </a:p>
        </p:txBody>
      </p:sp>
    </p:spTree>
    <p:extLst>
      <p:ext uri="{BB962C8B-B14F-4D97-AF65-F5344CB8AC3E}">
        <p14:creationId xmlns:p14="http://schemas.microsoft.com/office/powerpoint/2010/main" val="601123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7</a:t>
            </a:fld>
            <a:endParaRPr lang="da-DK" dirty="0"/>
          </a:p>
        </p:txBody>
      </p:sp>
    </p:spTree>
    <p:extLst>
      <p:ext uri="{BB962C8B-B14F-4D97-AF65-F5344CB8AC3E}">
        <p14:creationId xmlns:p14="http://schemas.microsoft.com/office/powerpoint/2010/main" val="36247315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8</a:t>
            </a:fld>
            <a:endParaRPr lang="da-DK" dirty="0"/>
          </a:p>
        </p:txBody>
      </p:sp>
    </p:spTree>
    <p:extLst>
      <p:ext uri="{BB962C8B-B14F-4D97-AF65-F5344CB8AC3E}">
        <p14:creationId xmlns:p14="http://schemas.microsoft.com/office/powerpoint/2010/main" val="137822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9</a:t>
            </a:fld>
            <a:endParaRPr lang="da-DK" dirty="0"/>
          </a:p>
        </p:txBody>
      </p:sp>
    </p:spTree>
    <p:extLst>
      <p:ext uri="{BB962C8B-B14F-4D97-AF65-F5344CB8AC3E}">
        <p14:creationId xmlns:p14="http://schemas.microsoft.com/office/powerpoint/2010/main" val="604811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0</a:t>
            </a:fld>
            <a:endParaRPr lang="da-DK" dirty="0"/>
          </a:p>
        </p:txBody>
      </p:sp>
    </p:spTree>
    <p:extLst>
      <p:ext uri="{BB962C8B-B14F-4D97-AF65-F5344CB8AC3E}">
        <p14:creationId xmlns:p14="http://schemas.microsoft.com/office/powerpoint/2010/main" val="3709282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1</a:t>
            </a:fld>
            <a:endParaRPr lang="da-DK" dirty="0"/>
          </a:p>
        </p:txBody>
      </p:sp>
    </p:spTree>
    <p:extLst>
      <p:ext uri="{BB962C8B-B14F-4D97-AF65-F5344CB8AC3E}">
        <p14:creationId xmlns:p14="http://schemas.microsoft.com/office/powerpoint/2010/main" val="7258681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2</a:t>
            </a:fld>
            <a:endParaRPr lang="da-DK" dirty="0"/>
          </a:p>
        </p:txBody>
      </p:sp>
    </p:spTree>
    <p:extLst>
      <p:ext uri="{BB962C8B-B14F-4D97-AF65-F5344CB8AC3E}">
        <p14:creationId xmlns:p14="http://schemas.microsoft.com/office/powerpoint/2010/main" val="18099214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4</a:t>
            </a:fld>
            <a:endParaRPr lang="da-DK" dirty="0"/>
          </a:p>
        </p:txBody>
      </p:sp>
    </p:spTree>
    <p:extLst>
      <p:ext uri="{BB962C8B-B14F-4D97-AF65-F5344CB8AC3E}">
        <p14:creationId xmlns:p14="http://schemas.microsoft.com/office/powerpoint/2010/main" val="20913000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5</a:t>
            </a:fld>
            <a:endParaRPr lang="da-DK" dirty="0"/>
          </a:p>
        </p:txBody>
      </p:sp>
    </p:spTree>
    <p:extLst>
      <p:ext uri="{BB962C8B-B14F-4D97-AF65-F5344CB8AC3E}">
        <p14:creationId xmlns:p14="http://schemas.microsoft.com/office/powerpoint/2010/main" val="17660496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6</a:t>
            </a:fld>
            <a:endParaRPr lang="da-DK" dirty="0"/>
          </a:p>
        </p:txBody>
      </p:sp>
    </p:spTree>
    <p:extLst>
      <p:ext uri="{BB962C8B-B14F-4D97-AF65-F5344CB8AC3E}">
        <p14:creationId xmlns:p14="http://schemas.microsoft.com/office/powerpoint/2010/main" val="15904543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7</a:t>
            </a:fld>
            <a:endParaRPr lang="da-DK" dirty="0"/>
          </a:p>
        </p:txBody>
      </p:sp>
    </p:spTree>
    <p:extLst>
      <p:ext uri="{BB962C8B-B14F-4D97-AF65-F5344CB8AC3E}">
        <p14:creationId xmlns:p14="http://schemas.microsoft.com/office/powerpoint/2010/main" val="17901624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8</a:t>
            </a:fld>
            <a:endParaRPr lang="da-DK" dirty="0"/>
          </a:p>
        </p:txBody>
      </p:sp>
    </p:spTree>
    <p:extLst>
      <p:ext uri="{BB962C8B-B14F-4D97-AF65-F5344CB8AC3E}">
        <p14:creationId xmlns:p14="http://schemas.microsoft.com/office/powerpoint/2010/main" val="6536159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9</a:t>
            </a:fld>
            <a:endParaRPr lang="da-DK" dirty="0"/>
          </a:p>
        </p:txBody>
      </p:sp>
    </p:spTree>
    <p:extLst>
      <p:ext uri="{BB962C8B-B14F-4D97-AF65-F5344CB8AC3E}">
        <p14:creationId xmlns:p14="http://schemas.microsoft.com/office/powerpoint/2010/main" val="27327768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0</a:t>
            </a:fld>
            <a:endParaRPr lang="da-DK" dirty="0"/>
          </a:p>
        </p:txBody>
      </p:sp>
    </p:spTree>
    <p:extLst>
      <p:ext uri="{BB962C8B-B14F-4D97-AF65-F5344CB8AC3E}">
        <p14:creationId xmlns:p14="http://schemas.microsoft.com/office/powerpoint/2010/main" val="14790494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1</a:t>
            </a:fld>
            <a:endParaRPr lang="da-DK" dirty="0"/>
          </a:p>
        </p:txBody>
      </p:sp>
    </p:spTree>
    <p:extLst>
      <p:ext uri="{BB962C8B-B14F-4D97-AF65-F5344CB8AC3E}">
        <p14:creationId xmlns:p14="http://schemas.microsoft.com/office/powerpoint/2010/main" val="51702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3</a:t>
            </a:fld>
            <a:endParaRPr lang="da-DK" dirty="0"/>
          </a:p>
        </p:txBody>
      </p:sp>
    </p:spTree>
    <p:extLst>
      <p:ext uri="{BB962C8B-B14F-4D97-AF65-F5344CB8AC3E}">
        <p14:creationId xmlns:p14="http://schemas.microsoft.com/office/powerpoint/2010/main" val="40568792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4</a:t>
            </a:fld>
            <a:endParaRPr lang="da-DK" dirty="0"/>
          </a:p>
        </p:txBody>
      </p:sp>
    </p:spTree>
    <p:extLst>
      <p:ext uri="{BB962C8B-B14F-4D97-AF65-F5344CB8AC3E}">
        <p14:creationId xmlns:p14="http://schemas.microsoft.com/office/powerpoint/2010/main" val="3928191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5</a:t>
            </a:fld>
            <a:endParaRPr lang="da-DK" dirty="0"/>
          </a:p>
        </p:txBody>
      </p:sp>
    </p:spTree>
    <p:extLst>
      <p:ext uri="{BB962C8B-B14F-4D97-AF65-F5344CB8AC3E}">
        <p14:creationId xmlns:p14="http://schemas.microsoft.com/office/powerpoint/2010/main" val="9605744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6</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7</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1661745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522634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303488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41.bin"/><Relationship Id="rId11" Type="http://schemas.openxmlformats.org/officeDocument/2006/relationships/image" Target="../media/image16.png"/><Relationship Id="rId5" Type="http://schemas.openxmlformats.org/officeDocument/2006/relationships/notesSlide" Target="../notesSlides/notesSlide18.xml"/><Relationship Id="rId10" Type="http://schemas.openxmlformats.org/officeDocument/2006/relationships/image" Target="../media/image15.png"/><Relationship Id="rId4" Type="http://schemas.openxmlformats.org/officeDocument/2006/relationships/slideLayout" Target="../slideLayouts/slideLayout9.xml"/><Relationship Id="rId9"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11" Type="http://schemas.openxmlformats.org/officeDocument/2006/relationships/image" Target="file:///C:\Users\tobr\OneDrive%20-%20NRGi%20A%20S\Projekter\ProjectBasedInternship\Data\Results\Presentation\1_2_scurve.svg" TargetMode="External"/><Relationship Id="rId5" Type="http://schemas.openxmlformats.org/officeDocument/2006/relationships/oleObject" Target="../embeddings/oleObject42.bin"/><Relationship Id="rId10" Type="http://schemas.openxmlformats.org/officeDocument/2006/relationships/image" Target="../media/image18.svg"/><Relationship Id="rId4" Type="http://schemas.openxmlformats.org/officeDocument/2006/relationships/notesSlide" Target="../notesSlides/notesSlide19.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4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1_8_dst_data.svg" TargetMode="External"/><Relationship Id="rId3" Type="http://schemas.openxmlformats.org/officeDocument/2006/relationships/notesSlide" Target="../notesSlides/notesSlide21.xml"/><Relationship Id="rId7" Type="http://schemas.openxmlformats.org/officeDocument/2006/relationships/image" Target="../media/image20.svg"/><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3.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3_0_2_corr.svg" TargetMode="External"/><Relationship Id="rId3" Type="http://schemas.openxmlformats.org/officeDocument/2006/relationships/notesSlide" Target="../notesSlides/notesSlide23.xml"/><Relationship Id="rId7" Type="http://schemas.openxmlformats.org/officeDocument/2006/relationships/image" Target="../media/image22.svg"/><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4.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3_4_2_corr_incl_lag_budget.svg" TargetMode="External"/><Relationship Id="rId3" Type="http://schemas.openxmlformats.org/officeDocument/2006/relationships/notesSlide" Target="../notesSlides/notesSlide24.xml"/><Relationship Id="rId7" Type="http://schemas.openxmlformats.org/officeDocument/2006/relationships/image" Target="../media/image24.svg"/><Relationship Id="rId2" Type="http://schemas.openxmlformats.org/officeDocument/2006/relationships/slideLayout" Target="../slideLayouts/slideLayout9.xml"/><Relationship Id="rId1" Type="http://schemas.openxmlformats.org/officeDocument/2006/relationships/tags" Target="../tags/tag5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5.xml"/><Relationship Id="rId1" Type="http://schemas.openxmlformats.org/officeDocument/2006/relationships/tags" Target="../tags/tag52.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9.xml"/><Relationship Id="rId7" Type="http://schemas.openxmlformats.org/officeDocument/2006/relationships/image" Target="../media/image2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49.bin"/><Relationship Id="rId10" Type="http://schemas.openxmlformats.org/officeDocument/2006/relationships/image" Target="../media/image27.png"/><Relationship Id="rId4" Type="http://schemas.openxmlformats.org/officeDocument/2006/relationships/notesSlide" Target="../notesSlides/notesSlide25.xml"/><Relationship Id="rId9" Type="http://schemas.openxmlformats.org/officeDocument/2006/relationships/image" Target="file:///C:\Users\tobr\OneDrive%20-%20NRGi%20A%20S\Projekter\ProjectBasedInternship\Data\Results\Presentation\3_0_dst.svg"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slideLayout" Target="../slideLayouts/slideLayout9.xml"/><Relationship Id="rId7" Type="http://schemas.openxmlformats.org/officeDocument/2006/relationships/image" Target="../media/image28.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50.bin"/><Relationship Id="rId10" Type="http://schemas.openxmlformats.org/officeDocument/2006/relationships/image" Target="../media/image27.png"/><Relationship Id="rId4" Type="http://schemas.openxmlformats.org/officeDocument/2006/relationships/notesSlide" Target="../notesSlides/notesSlide26.xml"/><Relationship Id="rId9" Type="http://schemas.openxmlformats.org/officeDocument/2006/relationships/image" Target="file:///C:\Users\tobr\OneDrive%20-%20NRGi%20A%20S\Projekter\ProjectBasedInternship\Data\Results\Presentation\3_9_scurve.svg"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Layout" Target="../slideLayouts/slideLayout9.xml"/><Relationship Id="rId7" Type="http://schemas.openxmlformats.org/officeDocument/2006/relationships/image" Target="../media/image30.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1.bin"/><Relationship Id="rId10" Type="http://schemas.openxmlformats.org/officeDocument/2006/relationships/image" Target="../media/image27.png"/><Relationship Id="rId4" Type="http://schemas.openxmlformats.org/officeDocument/2006/relationships/notesSlide" Target="../notesSlides/notesSlide27.xml"/><Relationship Id="rId9" Type="http://schemas.openxmlformats.org/officeDocument/2006/relationships/image" Target="file:///C:\Users\tobr\OneDrive%20-%20NRGi%20A%20S\Projekter\ProjectBasedInternship\Data\Results\Presentation\3_3_ols_lag_budget.svg"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slideLayout" Target="../slideLayouts/slideLayout9.xml"/><Relationship Id="rId7" Type="http://schemas.openxmlformats.org/officeDocument/2006/relationships/image" Target="../media/image3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52.bin"/><Relationship Id="rId10" Type="http://schemas.openxmlformats.org/officeDocument/2006/relationships/image" Target="../media/image27.png"/><Relationship Id="rId4" Type="http://schemas.openxmlformats.org/officeDocument/2006/relationships/notesSlide" Target="../notesSlides/notesSlide28.xml"/><Relationship Id="rId9" Type="http://schemas.openxmlformats.org/officeDocument/2006/relationships/image" Target="file:///C:\Users\tobr\OneDrive%20-%20NRGi%20A%20S\Projekter\ProjectBasedInternship\Data\Results\Presentation\3_5_fc.svg"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0.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3_6_cluster.svg" TargetMode="External"/><Relationship Id="rId3" Type="http://schemas.openxmlformats.org/officeDocument/2006/relationships/notesSlide" Target="../notesSlides/notesSlide29.xml"/><Relationship Id="rId7" Type="http://schemas.openxmlformats.org/officeDocument/2006/relationships/image" Target="../media/image35.svg"/><Relationship Id="rId2" Type="http://schemas.openxmlformats.org/officeDocument/2006/relationships/slideLayout" Target="../slideLayouts/slideLayout9.xml"/><Relationship Id="rId1" Type="http://schemas.openxmlformats.org/officeDocument/2006/relationships/tags" Target="../tags/tag61.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3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Layout" Target="../slideLayouts/slideLayout9.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54.bin"/><Relationship Id="rId10" Type="http://schemas.openxmlformats.org/officeDocument/2006/relationships/image" Target="../media/image27.png"/><Relationship Id="rId4" Type="http://schemas.openxmlformats.org/officeDocument/2006/relationships/notesSlide" Target="../notesSlides/notesSlide30.xml"/><Relationship Id="rId9" Type="http://schemas.openxmlformats.org/officeDocument/2006/relationships/image" Target="file:///C:\Users\tobr\OneDrive%20-%20NRGi%20A%20S\Projekter\ProjectBasedInternship\Data\Results\Presentation\3_7_fc_cluster.svg"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slideLayout" Target="../slideLayouts/slideLayout9.xml"/><Relationship Id="rId7" Type="http://schemas.openxmlformats.org/officeDocument/2006/relationships/image" Target="../media/image38.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31.xml"/><Relationship Id="rId9" Type="http://schemas.openxmlformats.org/officeDocument/2006/relationships/image" Target="../media/image27.pn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9.xml"/><Relationship Id="rId7" Type="http://schemas.openxmlformats.org/officeDocument/2006/relationships/image" Target="../media/image4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57.bin"/><Relationship Id="rId10" Type="http://schemas.openxmlformats.org/officeDocument/2006/relationships/image" Target="../media/image27.png"/><Relationship Id="rId4" Type="http://schemas.openxmlformats.org/officeDocument/2006/relationships/notesSlide" Target="../notesSlides/notesSlide32.xml"/><Relationship Id="rId9" Type="http://schemas.openxmlformats.org/officeDocument/2006/relationships/image" Target="file:///C:\Users\tobr\OneDrive%20-%20NRGi%20A%20S\Projekter\ProjectBasedInternship\Data\Results\Presentation\4_0_en.svg"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slideLayout" Target="../slideLayouts/slideLayout9.xml"/><Relationship Id="rId7" Type="http://schemas.openxmlformats.org/officeDocument/2006/relationships/image" Target="../media/image42.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58.bin"/><Relationship Id="rId10" Type="http://schemas.openxmlformats.org/officeDocument/2006/relationships/image" Target="../media/image27.png"/><Relationship Id="rId4" Type="http://schemas.openxmlformats.org/officeDocument/2006/relationships/notesSlide" Target="../notesSlides/notesSlide33.xml"/><Relationship Id="rId9" Type="http://schemas.openxmlformats.org/officeDocument/2006/relationships/image" Target="file:///C:\Users\tobr\OneDrive%20-%20NRGi%20A%20S\Projekter\ProjectBasedInternship\Data\Results\Presentation\4_1_rf_full.svg"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Layout" Target="../slideLayouts/slideLayout9.xml"/><Relationship Id="rId7" Type="http://schemas.openxmlformats.org/officeDocument/2006/relationships/image" Target="../media/image44.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59.bin"/><Relationship Id="rId10" Type="http://schemas.openxmlformats.org/officeDocument/2006/relationships/image" Target="../media/image27.png"/><Relationship Id="rId4" Type="http://schemas.openxmlformats.org/officeDocument/2006/relationships/notesSlide" Target="../notesSlides/notesSlide34.xml"/><Relationship Id="rId9" Type="http://schemas.openxmlformats.org/officeDocument/2006/relationships/image" Target="file:///C:\Users\tobr\OneDrive%20-%20NRGi%20A%20S\Projekter\ProjectBasedInternship\Data\Results\Presentation\4_2_rf_sparse.svg"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9.xml"/><Relationship Id="rId7" Type="http://schemas.openxmlformats.org/officeDocument/2006/relationships/image" Target="../media/image4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27.png"/><Relationship Id="rId4" Type="http://schemas.openxmlformats.org/officeDocument/2006/relationships/notesSlide" Target="../notesSlides/notesSlide35.xml"/><Relationship Id="rId9" Type="http://schemas.openxmlformats.org/officeDocument/2006/relationships/image" Target="file:///C:\Users\tobr\OneDrive%20-%20NRGi%20A%20S\Projekter\ProjectBasedInternship\Data\Results\Presentation\4_3_et.svg"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slideLayout" Target="../slideLayouts/slideLayout9.xml"/><Relationship Id="rId7" Type="http://schemas.openxmlformats.org/officeDocument/2006/relationships/image" Target="../media/image48.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61.bin"/><Relationship Id="rId10" Type="http://schemas.openxmlformats.org/officeDocument/2006/relationships/image" Target="../media/image27.png"/><Relationship Id="rId4" Type="http://schemas.openxmlformats.org/officeDocument/2006/relationships/notesSlide" Target="../notesSlides/notesSlide36.xml"/><Relationship Id="rId9" Type="http://schemas.openxmlformats.org/officeDocument/2006/relationships/image" Target="file:///C:\Users\tobr\OneDrive%20-%20NRGi%20A%20S\Projekter\ProjectBasedInternship\Data\Results\Presentation\4_7_rf_et.svg"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slideLayout" Target="../slideLayouts/slideLayout9.xml"/><Relationship Id="rId7" Type="http://schemas.openxmlformats.org/officeDocument/2006/relationships/image" Target="../media/image50.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62.bin"/><Relationship Id="rId10" Type="http://schemas.openxmlformats.org/officeDocument/2006/relationships/image" Target="../media/image27.png"/><Relationship Id="rId4" Type="http://schemas.openxmlformats.org/officeDocument/2006/relationships/notesSlide" Target="../notesSlides/notesSlide37.xml"/><Relationship Id="rId9" Type="http://schemas.openxmlformats.org/officeDocument/2006/relationships/image" Target="file:///C:\Users\tobr\OneDrive%20-%20NRGi%20A%20S\Projekter\ProjectBasedInternship\Data\Results\Presentation\4_4_gb.svg"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slideLayout" Target="../slideLayouts/slideLayout9.xml"/><Relationship Id="rId7" Type="http://schemas.openxmlformats.org/officeDocument/2006/relationships/image" Target="../media/image5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63.bin"/><Relationship Id="rId10" Type="http://schemas.openxmlformats.org/officeDocument/2006/relationships/image" Target="../media/image27.png"/><Relationship Id="rId4" Type="http://schemas.openxmlformats.org/officeDocument/2006/relationships/notesSlide" Target="../notesSlides/notesSlide38.xml"/><Relationship Id="rId9" Type="http://schemas.openxmlformats.org/officeDocument/2006/relationships/image" Target="file:///C:\Users\tobr\OneDrive%20-%20NRGi%20A%20S\Projekter\ProjectBasedInternship\Data\Results\Presentation\4_5_xgb.svg"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slideLayout" Target="../slideLayouts/slideLayout9.xml"/><Relationship Id="rId7" Type="http://schemas.openxmlformats.org/officeDocument/2006/relationships/image" Target="../media/image54.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64.bin"/><Relationship Id="rId10" Type="http://schemas.openxmlformats.org/officeDocument/2006/relationships/image" Target="../media/image27.png"/><Relationship Id="rId4" Type="http://schemas.openxmlformats.org/officeDocument/2006/relationships/notesSlide" Target="../notesSlides/notesSlide39.xml"/><Relationship Id="rId9" Type="http://schemas.openxmlformats.org/officeDocument/2006/relationships/image" Target="file:///C:\Users\tobr\OneDrive%20-%20NRGi%20A%20S\Projekter\ProjectBasedInternship\Data\Results\Presentation\4_6_boost.svg" TargetMode="Externa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5.xml"/><Relationship Id="rId1" Type="http://schemas.openxmlformats.org/officeDocument/2006/relationships/tags" Target="../tags/tag83.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5_0_lstm_tune.svg" TargetMode="External"/><Relationship Id="rId3" Type="http://schemas.openxmlformats.org/officeDocument/2006/relationships/notesSlide" Target="../notesSlides/notesSlide40.xml"/><Relationship Id="rId7" Type="http://schemas.openxmlformats.org/officeDocument/2006/relationships/image" Target="../media/image57.svg"/><Relationship Id="rId2" Type="http://schemas.openxmlformats.org/officeDocument/2006/relationships/slideLayout" Target="../slideLayouts/slideLayout9.xml"/><Relationship Id="rId1" Type="http://schemas.openxmlformats.org/officeDocument/2006/relationships/tags" Target="../tags/tag84.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4.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5_0_loss.svg" TargetMode="External"/><Relationship Id="rId3" Type="http://schemas.openxmlformats.org/officeDocument/2006/relationships/notesSlide" Target="../notesSlides/notesSlide41.xml"/><Relationship Id="rId7" Type="http://schemas.openxmlformats.org/officeDocument/2006/relationships/image" Target="../media/image59.svg"/><Relationship Id="rId2" Type="http://schemas.openxmlformats.org/officeDocument/2006/relationships/slideLayout" Target="../slideLayouts/slideLayout9.xml"/><Relationship Id="rId1" Type="http://schemas.openxmlformats.org/officeDocument/2006/relationships/tags" Target="../tags/tag85.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4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slideLayout" Target="../slideLayouts/slideLayout9.xml"/><Relationship Id="rId7" Type="http://schemas.openxmlformats.org/officeDocument/2006/relationships/image" Target="../media/image60.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68.bin"/><Relationship Id="rId10" Type="http://schemas.openxmlformats.org/officeDocument/2006/relationships/image" Target="../media/image27.png"/><Relationship Id="rId4" Type="http://schemas.openxmlformats.org/officeDocument/2006/relationships/notesSlide" Target="../notesSlides/notesSlide42.xml"/><Relationship Id="rId9" Type="http://schemas.openxmlformats.org/officeDocument/2006/relationships/image" Target="file:///C:\Users\tobr\OneDrive%20-%20NRGi%20A%20S\Projekter\ProjectBasedInternship\Data\Results\Presentation\5_1_lstm.svg" TargetMode="Externa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xml"/><Relationship Id="rId1" Type="http://schemas.openxmlformats.org/officeDocument/2006/relationships/tags" Target="../tags/tag8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9.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sz="1600" dirty="0"/>
              <a:t>Hvert træ bidrager med en forudsigelse, og den endelige forudsigelse bestemmes ved at aggregere de mest hyppige resultater fra alle træerne.</a:t>
            </a:r>
          </a:p>
          <a:p>
            <a:pPr lvl="1">
              <a:lnSpc>
                <a:spcPct val="100000"/>
              </a:lnSpc>
            </a:pPr>
            <a:r>
              <a:rPr lang="da-DK" sz="1600"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sz="1600" dirty="0"/>
              <a:t>Fungerer godt for datasæt med høj dimensionalitet og er i stand til at fange komplekse relationer mellem variabler.</a:t>
            </a:r>
          </a:p>
          <a:p>
            <a:pPr lvl="1">
              <a:lnSpc>
                <a:spcPct val="100000"/>
              </a:lnSpc>
            </a:pPr>
            <a:r>
              <a:rPr lang="da-DK" sz="1600" dirty="0"/>
              <a:t>Særligt nyttig i starten af projekternes levetid, da den er efficient ved små datasæt.</a:t>
            </a:r>
          </a:p>
          <a:p>
            <a:pPr lvl="1">
              <a:lnSpc>
                <a:spcPct val="100000"/>
              </a:lnSpc>
            </a:pPr>
            <a:r>
              <a:rPr lang="da-DK" sz="1600"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sz="1600" dirty="0"/>
              <a:t>Hver svage model retter fejlene fra den foregående model, og deres forudsigelser kombineres for at opnå en endelig, mere nøjagtig forudsigelse.</a:t>
            </a:r>
          </a:p>
          <a:p>
            <a:pPr lvl="1">
              <a:lnSpc>
                <a:spcPct val="100000"/>
              </a:lnSpc>
            </a:pPr>
            <a:r>
              <a:rPr lang="da-DK" sz="1600" dirty="0"/>
              <a:t>Kan effektivt håndtere manglende data og fange komplekse, ikke-lineære relationer i store datasæt.</a:t>
            </a:r>
          </a:p>
          <a:p>
            <a:pPr lvl="1">
              <a:lnSpc>
                <a:spcPct val="100000"/>
              </a:lnSpc>
            </a:pPr>
            <a:r>
              <a:rPr lang="da-DK" sz="1600"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sz="1600" dirty="0"/>
              <a:t>Kan huske tidligere information i en sekvens og bruge den til at producere mere nøjagtige forudsigelser om fremtidige punkter i sekvensen.</a:t>
            </a:r>
          </a:p>
          <a:p>
            <a:pPr lvl="1">
              <a:lnSpc>
                <a:spcPct val="100000"/>
              </a:lnSpc>
            </a:pPr>
            <a:r>
              <a:rPr lang="da-DK" sz="1600" dirty="0"/>
              <a:t>Ideel til komplekse tidsseriedata, som ofte findes i økonomiske og byggetekniske projekter.</a:t>
            </a:r>
          </a:p>
          <a:p>
            <a:pPr lvl="1">
              <a:lnSpc>
                <a:spcPct val="100000"/>
              </a:lnSpc>
            </a:pPr>
            <a:r>
              <a:rPr lang="da-DK" sz="1600"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a:t>Cross-Learning</a:t>
            </a:r>
            <a:r>
              <a:rPr lang="da-DK"/>
              <a:t>:</a:t>
            </a:r>
            <a:endParaRPr lang="da-DK" b="1" dirty="0"/>
          </a:p>
        </p:txBody>
      </p:sp>
    </p:spTree>
    <p:extLst>
      <p:ext uri="{BB962C8B-B14F-4D97-AF65-F5344CB8AC3E}">
        <p14:creationId xmlns:p14="http://schemas.microsoft.com/office/powerpoint/2010/main" val="34440267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Data</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sz="1600" dirty="0" err="1"/>
              <a:t>ELCON's</a:t>
            </a:r>
            <a:r>
              <a:rPr lang="da-DK" sz="1600" dirty="0"/>
              <a:t> datasæt for byggeprojekter opdateres månedligt fra virksomhedens ERP-system og indeholder oplysninger om indtægter, udgifter, arbejdskraft og </a:t>
            </a:r>
            <a:r>
              <a:rPr lang="da-DK" sz="1600" dirty="0" err="1"/>
              <a:t>materialomkostninger</a:t>
            </a:r>
            <a:r>
              <a:rPr lang="da-DK" sz="1600" dirty="0"/>
              <a:t>.</a:t>
            </a:r>
          </a:p>
          <a:p>
            <a:pPr>
              <a:lnSpc>
                <a:spcPct val="100000"/>
              </a:lnSpc>
            </a:pPr>
            <a:r>
              <a:rPr lang="da-DK" sz="1600" dirty="0"/>
              <a:t>Projekter gennemgår tre budgetskøn: salgsskøn ved tilbudsfasen, produktionsomkostningsskøn under indkøbsprocessen og endelige skøn i byggefasen. Ældre projekter har kun endelige skøn, så der er tilføjet en syntetisk '</a:t>
            </a:r>
            <a:r>
              <a:rPr lang="da-DK" sz="1600" dirty="0" err="1"/>
              <a:t>budget'kategori</a:t>
            </a:r>
            <a:r>
              <a:rPr lang="da-DK" sz="1600" dirty="0"/>
              <a:t>.</a:t>
            </a:r>
          </a:p>
          <a:p>
            <a:pPr>
              <a:lnSpc>
                <a:spcPct val="100000"/>
              </a:lnSpc>
            </a:pPr>
            <a:r>
              <a:rPr lang="da-DK" sz="1600" dirty="0"/>
              <a:t>Under byggeprocessen beregnes forventede indtægter ved at justere påløbne omkostninger mod budgetmargenen. Dette hjælper med at vurdere projektets levedygtighed og beregne arbejde i gang og profitmarginer.</a:t>
            </a:r>
          </a:p>
          <a:p>
            <a:pPr>
              <a:lnSpc>
                <a:spcPct val="100000"/>
              </a:lnSpc>
            </a:pPr>
            <a:r>
              <a:rPr lang="da-DK" sz="1600" dirty="0"/>
              <a:t>Projektstyringsdata omfatter registrerede timer i kategorier som fakturerbare, sygdomsrelaterede og interne timer, der bruges til at vurdere produktiviteten på afdelingsniveau.</a:t>
            </a:r>
          </a:p>
          <a:p>
            <a:pPr>
              <a:lnSpc>
                <a:spcPct val="100000"/>
              </a:lnSpc>
            </a:pPr>
            <a:r>
              <a:rPr lang="da-DK" sz="1600" dirty="0"/>
              <a:t>Projektets afslutningsdatoer modelleres med s-kurver, og udgifter forudsættes ved at sammenligne faktiske omkostninger med s-kurveprognoser.</a:t>
            </a:r>
          </a:p>
          <a:p>
            <a:pPr>
              <a:lnSpc>
                <a:spcPct val="100000"/>
              </a:lnSpc>
            </a:pPr>
            <a:r>
              <a:rPr lang="da-DK" sz="1600" dirty="0"/>
              <a:t>Risiko vurderes ved hjælp af en lineær regressionsmodel, der normaliserer rester i forhold til produktionsomkostningsskøn.</a:t>
            </a:r>
          </a:p>
          <a:p>
            <a:pPr>
              <a:lnSpc>
                <a:spcPct val="100000"/>
              </a:lnSpc>
            </a:pPr>
            <a:r>
              <a:rPr lang="da-DK" sz="1600" dirty="0"/>
              <a:t>Datasættet beriges med makroøkonomiske indikatorer fra Danmarks Statistik for at inkludere eksterne faktorer som tillidsindikatorer og sektorspecifikke begrænsninger. </a:t>
            </a:r>
          </a:p>
        </p:txBody>
      </p:sp>
    </p:spTree>
    <p:extLst>
      <p:ext uri="{BB962C8B-B14F-4D97-AF65-F5344CB8AC3E}">
        <p14:creationId xmlns:p14="http://schemas.microsoft.com/office/powerpoint/2010/main" val="13750761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107334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93630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a:t>
            </a:r>
          </a:p>
        </p:txBody>
      </p:sp>
    </p:spTree>
    <p:extLst>
      <p:ext uri="{BB962C8B-B14F-4D97-AF65-F5344CB8AC3E}">
        <p14:creationId xmlns:p14="http://schemas.microsoft.com/office/powerpoint/2010/main" val="13578497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648000" y="1008000"/>
                <a:ext cx="5113337" cy="4858555"/>
              </a:xfrm>
              <a:prstGeom prst="rect">
                <a:avLst/>
              </a:prstGeom>
            </p:spPr>
            <p:txBody>
              <a:bodyPr vert="horz" lIns="0" tIns="0" rIns="0" bIns="0" rtlCol="0">
                <a:noAutofit/>
              </a:bodyPr>
              <a:lstStyle>
                <a:defPPr>
                  <a:defRPr lang="en-US"/>
                </a:defPPr>
                <a:lvl1pPr marL="179388" indent="-179388">
                  <a:lnSpc>
                    <a:spcPct val="90000"/>
                  </a:lnSpc>
                  <a:spcBef>
                    <a:spcPts val="600"/>
                  </a:spcBef>
                  <a:buFont typeface="Arial" pitchFamily="34" charset="0"/>
                  <a:buChar char="•"/>
                  <a:defRPr sz="2000">
                    <a:solidFill>
                      <a:schemeClr val="accent1"/>
                    </a:solidFill>
                  </a:defRPr>
                </a:lvl1pPr>
                <a:lvl2pPr marL="360000" lvl="1" indent="-180975">
                  <a:lnSpc>
                    <a:spcPct val="90000"/>
                  </a:lnSpc>
                  <a:spcBef>
                    <a:spcPts val="600"/>
                  </a:spcBef>
                  <a:buFont typeface="Arial" panose="020B0604020202020204" pitchFamily="34" charset="0"/>
                  <a:buChar char="•"/>
                  <a:defRPr sz="2000">
                    <a:solidFill>
                      <a:schemeClr val="accent1"/>
                    </a:solidFill>
                  </a:defRPr>
                </a:lvl2pPr>
                <a:lvl3pPr marL="540000" indent="-180975">
                  <a:lnSpc>
                    <a:spcPct val="90000"/>
                  </a:lnSpc>
                  <a:spcBef>
                    <a:spcPts val="600"/>
                  </a:spcBef>
                  <a:buFont typeface="Arial" pitchFamily="34" charset="0"/>
                  <a:buChar char="•"/>
                  <a:defRPr sz="2000">
                    <a:solidFill>
                      <a:schemeClr val="accent1"/>
                    </a:solidFill>
                  </a:defRPr>
                </a:lvl3pPr>
                <a:lvl4pPr marL="720000" indent="-180000">
                  <a:lnSpc>
                    <a:spcPct val="90000"/>
                  </a:lnSpc>
                  <a:spcBef>
                    <a:spcPts val="600"/>
                  </a:spcBef>
                  <a:buFont typeface="Arial" panose="020B0604020202020204" pitchFamily="34" charset="0"/>
                  <a:buChar char="•"/>
                  <a:defRPr sz="2000">
                    <a:solidFill>
                      <a:schemeClr val="accent1"/>
                    </a:solidFill>
                  </a:defRPr>
                </a:lvl4pPr>
                <a:lvl5pPr marL="900000" indent="-180975">
                  <a:lnSpc>
                    <a:spcPct val="90000"/>
                  </a:lnSpc>
                  <a:spcBef>
                    <a:spcPts val="600"/>
                  </a:spcBef>
                  <a:buFont typeface="Arial" panose="020B0604020202020204" pitchFamily="34" charset="0"/>
                  <a:buChar char="•"/>
                  <a:defRPr sz="20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a-DK" dirty="0"/>
                  <a:t>Konstruerede s-kurver kan give et indblik i, om projekterne følger den optimale afvikling af budget.</a:t>
                </a:r>
              </a:p>
              <a:p>
                <a:endParaRPr lang="da-DK" dirty="0"/>
              </a:p>
              <a:p>
                <a:r>
                  <a:rPr lang="da-DK" dirty="0"/>
                  <a:t>Vi kan modellere en ikke-lineær færdiggørelsesgrad, som en funktion af andelen af tid forbrugt, </a:t>
                </a:r>
                <a14:m>
                  <m:oMath xmlns:m="http://schemas.openxmlformats.org/officeDocument/2006/math">
                    <m:r>
                      <a:rPr lang="da-DK"/>
                      <m:t>𝑥</m:t>
                    </m:r>
                  </m:oMath>
                </a14:m>
                <a:r>
                  <a:rPr lang="da-DK" dirty="0"/>
                  <a:t>:</a:t>
                </a:r>
              </a:p>
              <a:p>
                <a:endParaRPr lang="da-DK" dirty="0"/>
              </a:p>
              <a:p>
                <a:endParaRPr lang="da-DK" dirty="0"/>
              </a:p>
              <a:p>
                <a:endParaRPr lang="da-DK" dirty="0"/>
              </a:p>
              <a:p>
                <a:r>
                  <a:rPr lang="da-DK" dirty="0"/>
                  <a:t>hvor vi  definerer hhv. </a:t>
                </a:r>
                <a14:m>
                  <m:oMath xmlns:m="http://schemas.openxmlformats.org/officeDocument/2006/math">
                    <m:r>
                      <a:rPr lang="da-DK"/>
                      <m:t>𝜇</m:t>
                    </m:r>
                    <m:r>
                      <a:rPr lang="da-DK"/>
                      <m:t>=0.</m:t>
                    </m:r>
                    <m:r>
                      <a:rPr lang="en-US" b="0" i="0" smtClean="0">
                        <a:latin typeface="Cambria Math" panose="02040503050406030204" pitchFamily="18" charset="0"/>
                      </a:rPr>
                      <m:t>6</m:t>
                    </m:r>
                  </m:oMath>
                </a14:m>
                <a:r>
                  <a:rPr lang="da-DK" dirty="0"/>
                  <a:t> og </a:t>
                </a:r>
                <a14:m>
                  <m:oMath xmlns:m="http://schemas.openxmlformats.org/officeDocument/2006/math">
                    <m:r>
                      <a:rPr lang="da-DK"/>
                      <m:t>𝜈</m:t>
                    </m:r>
                    <m:r>
                      <a:rPr lang="da-DK"/>
                      <m:t>=</m:t>
                    </m:r>
                    <m:r>
                      <a:rPr lang="en-US" b="0" i="0" smtClean="0">
                        <a:latin typeface="Cambria Math" panose="02040503050406030204" pitchFamily="18" charset="0"/>
                      </a:rPr>
                      <m:t>2</m:t>
                    </m:r>
                  </m:oMath>
                </a14:m>
                <a:r>
                  <a:rPr lang="da-DK" dirty="0"/>
                  <a:t>.</a:t>
                </a:r>
              </a:p>
              <a:p>
                <a:endParaRPr lang="da-DK" dirty="0"/>
              </a:p>
              <a:p>
                <a:endParaRPr lang="da-DK" dirty="0"/>
              </a:p>
              <a:p>
                <a:endParaRPr lang="da-DK" dirty="0"/>
              </a:p>
              <a:p>
                <a:endParaRPr lang="da-DK" dirty="0"/>
              </a:p>
              <a:p>
                <a:endParaRPr lang="da-DK" dirty="0"/>
              </a:p>
            </p:txBody>
          </p:sp>
        </mc:Choice>
        <mc:Fallback>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648000" y="1008000"/>
                <a:ext cx="5113337" cy="4858555"/>
              </a:xfrm>
              <a:prstGeom prst="rect">
                <a:avLst/>
              </a:prstGeom>
              <a:blipFill>
                <a:blip r:embed="rId8"/>
                <a:stretch>
                  <a:fillRect l="-2861" t="-2258" r="-2503"/>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documentclass{article}&#10;\usepackage{amsmath}&#10;\pagestyle{empty}&#10;\begin{document}&#10;&#10;\begin{equation*}&#10;\Phi(x;\mu,\nu)=\left[1+\left(\frac{x(1-\mu)}{\mu(1-x)}\right)^{-\nu}\right]^{-1}&#10;\end{equation*}&#10;&#10;&#10;\end{document}" title="IguanaTex Bitmap Display">
            <a:extLst>
              <a:ext uri="{FF2B5EF4-FFF2-40B4-BE49-F238E27FC236}">
                <a16:creationId xmlns:a16="http://schemas.microsoft.com/office/drawing/2014/main" id="{0F345685-9460-E07A-59BB-0DD576793740}"/>
              </a:ext>
            </a:extLst>
          </p:cNvPr>
          <p:cNvPicPr>
            <a:picLocks noChangeAspect="1"/>
          </p:cNvPicPr>
          <p:nvPr>
            <p:custDataLst>
              <p:tags r:id="rId2"/>
            </p:custDataLst>
          </p:nvPr>
        </p:nvPicPr>
        <p:blipFill>
          <a:blip r:embed="rId9"/>
          <a:stretch>
            <a:fillRect/>
          </a:stretch>
        </p:blipFill>
        <p:spPr>
          <a:xfrm>
            <a:off x="927361" y="3269981"/>
            <a:ext cx="3985992" cy="815545"/>
          </a:xfrm>
          <a:prstGeom prst="rect">
            <a:avLst/>
          </a:prstGeom>
        </p:spPr>
      </p:pic>
      <p:pic>
        <p:nvPicPr>
          <p:cNvPr id="2" name="Billede 1" descr="\documentclass{article}&#10;\usepackage{amsmath}&#10;\usepackage{adjustbox}&#10;\usepackage{pgfplots}&#10;&#10;\pgfplotsset{compat = newest}&#10;\definecolor{elcon0}{RGB}{0,110,100} % Defining the color #006e64&#10;\definecolor{elcon1}{RGB}{115,72,72} % Defining the color #734848&#10;\definecolor{elcon2}{RGB}{0,78,74} % Defining the color #004e4a&#10;\definecolor{elcon3}{RGB}{193,113,80} % Defining thcolor #c17150&#10;&#10;\usepackage[margin=0.25in]{geometry}&#10;\usepackage{pgfplots}&#10;\pgfplotsset{width=10cm,compat=1.9}&#10;&#10;% We will externalize the figures&#10;\usepgfplotslibrary{external}&#10;\tikzexternalize&#10;&#10;\begin{document}&#10;&#10;&#10;&#10;\begin{figure}[ht]&#10;\centering&#10;\begin{tikzpicture}&#10;    \begin{axis}[&#10;        xmin = 0, xmax = 1,&#10;        ymin = 0, ymax = 1,&#10;        legend style={at={(0.5,-0.1)},anchor=north}, % Positioning the legend&#10;        legend columns=-1] % For horizontal legend&#10;        \addplot[&#10;            domain = 0:1,&#10;            samples = 200,&#10;            smooth,&#10;            thick,&#10;            color=elcon0, % Using the defined color here&#10;        ] {(1+((x*(1-0.5))/(0.5*(1-x)))^(-1))^(-1)};&#10;        \addlegendentry{$\nu=1$}% Label for the first plot;&#10;        \addplot[&#10;            domain = 0:1,&#10;            samples = 200,&#10;            smooth,&#10;            thick,&#10;            color=elcon1, % Using the defined color here&#10;        ] {(1+((x*(1-0.5))/(0.5*(1-x)))^(-2))^(-1)};&#10;        \addlegendentry{$\nu=2$}% Label for the second plot&#10;        \addplot[&#10;            domain = 0:1,&#10;            samples = 200,&#10;            smooth,&#10;            thick,&#10;            color=elcon3, % Using the defined color here&#10;        ] {(1+((x*(1-0.5))/(0.5*(1-x)))^(-3))^(-1)};&#10;        \addlegendentry{$\nu=3$} % Label for the third plot&#10;        % Dashed with \mu = 0.75&#10;        \addplot[&#10;            domain = 0:1,&#10;            samples = 200,&#10;            dashed,&#10;            thin,&#10;            color=elcon0, % Using the defined color here&#10;        ] {(1+((x*(1-0.6))/(0.6*(1-x)))^(-1))^(-1)};&#10;        \addplot[&#10;            domain = 0:1,&#10;            samples = 200,&#10;            dashed,&#10;            thin,&#10;            color=elcon1, % Using the defined color here&#10;        ] {(1+((x*(1-0.6))/(0.6*(1-x)))^(-2))^(-1)};&#10;        \addplot[&#10;            domain = 0:1,&#10;            samples = 200,&#10;            dashed,&#10;            thin,&#10;            color=elcon3, % Using the defined color here&#10;        ] {(1+((x*(1-0.6))/(0.6*(1-x)))^(-3))^(-1)};&#10;    \end{axis}&#10;\end{tikzpicture}&#10;&#10;\end{figure}&#10;&#10;&#10;&#10;\end{document}" title="IguanaTex Bitmap Display">
            <a:extLst>
              <a:ext uri="{FF2B5EF4-FFF2-40B4-BE49-F238E27FC236}">
                <a16:creationId xmlns:a16="http://schemas.microsoft.com/office/drawing/2014/main" id="{E7931504-6F19-A673-A4F1-78E07F1358A8}"/>
              </a:ext>
            </a:extLst>
          </p:cNvPr>
          <p:cNvPicPr>
            <a:picLocks noChangeAspect="1"/>
          </p:cNvPicPr>
          <p:nvPr>
            <p:custDataLst>
              <p:tags r:id="rId3"/>
            </p:custDataLst>
          </p:nvPr>
        </p:nvPicPr>
        <p:blipFill rotWithShape="1">
          <a:blip r:embed="rId10"/>
          <a:srcRect b="68546"/>
          <a:stretch/>
        </p:blipFill>
        <p:spPr>
          <a:xfrm>
            <a:off x="7349965" y="1008000"/>
            <a:ext cx="4194035" cy="3911184"/>
          </a:xfrm>
          <a:prstGeom prst="rect">
            <a:avLst/>
          </a:prstGeom>
        </p:spPr>
      </p:pic>
      <mc:AlternateContent xmlns:mc="http://schemas.openxmlformats.org/markup-compatibility/2006">
        <mc:Choice xmlns:a14="http://schemas.microsoft.com/office/drawing/2010/main" Requires="a14">
          <p:sp>
            <p:nvSpPr>
              <p:cNvPr id="66" name="Tekstfelt 65">
                <a:extLst>
                  <a:ext uri="{FF2B5EF4-FFF2-40B4-BE49-F238E27FC236}">
                    <a16:creationId xmlns:a16="http://schemas.microsoft.com/office/drawing/2014/main" id="{DFD66FED-E94F-1077-8FDD-14696035ECE6}"/>
                  </a:ext>
                </a:extLst>
              </p:cNvPr>
              <p:cNvSpPr txBox="1"/>
              <p:nvPr/>
            </p:nvSpPr>
            <p:spPr>
              <a:xfrm>
                <a:off x="7349965" y="4965441"/>
                <a:ext cx="4194035" cy="184666"/>
              </a:xfrm>
              <a:prstGeom prst="rect">
                <a:avLst/>
              </a:prstGeom>
            </p:spPr>
            <p:txBody>
              <a:bodyPr vert="horz" wrap="square" lIns="0" tIns="0" rIns="0" bIns="0" rtlCol="0">
                <a:spAutoFit/>
              </a:bodyPr>
              <a:lstStyle/>
              <a:p>
                <a:pPr algn="ctr"/>
                <a:r>
                  <a:rPr lang="da-DK" sz="1200" i="1" dirty="0">
                    <a:solidFill>
                      <a:schemeClr val="bg2">
                        <a:lumMod val="50000"/>
                      </a:schemeClr>
                    </a:solidFill>
                  </a:rPr>
                  <a:t>Stiplede linjer er </a:t>
                </a:r>
                <a14:m>
                  <m:oMath xmlns:m="http://schemas.openxmlformats.org/officeDocument/2006/math">
                    <m:r>
                      <a:rPr lang="da-DK" sz="1200" i="1" smtClean="0">
                        <a:solidFill>
                          <a:schemeClr val="bg2">
                            <a:lumMod val="50000"/>
                          </a:schemeClr>
                        </a:solidFill>
                        <a:latin typeface="Cambria Math" panose="02040503050406030204" pitchFamily="18" charset="0"/>
                      </a:rPr>
                      <m:t>𝜇</m:t>
                    </m:r>
                    <m:r>
                      <a:rPr lang="da-DK" sz="1200" i="1" smtClean="0">
                        <a:solidFill>
                          <a:schemeClr val="bg2">
                            <a:lumMod val="50000"/>
                          </a:schemeClr>
                        </a:solidFill>
                        <a:latin typeface="Cambria Math" panose="02040503050406030204" pitchFamily="18" charset="0"/>
                      </a:rPr>
                      <m:t>=0.6</m:t>
                    </m:r>
                  </m:oMath>
                </a14:m>
                <a:r>
                  <a:rPr lang="da-DK" sz="1200" i="1" dirty="0">
                    <a:solidFill>
                      <a:schemeClr val="bg2">
                        <a:lumMod val="50000"/>
                      </a:schemeClr>
                    </a:solidFill>
                  </a:rPr>
                  <a:t>, og faste streger er </a:t>
                </a:r>
                <a14:m>
                  <m:oMath xmlns:m="http://schemas.openxmlformats.org/officeDocument/2006/math">
                    <m:r>
                      <a:rPr lang="da-DK" sz="1200" i="1">
                        <a:solidFill>
                          <a:schemeClr val="bg2">
                            <a:lumMod val="50000"/>
                          </a:schemeClr>
                        </a:solidFill>
                        <a:latin typeface="Cambria Math" panose="02040503050406030204" pitchFamily="18" charset="0"/>
                      </a:rPr>
                      <m:t>𝜇</m:t>
                    </m:r>
                    <m:r>
                      <a:rPr lang="da-DK" sz="1200" i="1">
                        <a:solidFill>
                          <a:schemeClr val="bg2">
                            <a:lumMod val="50000"/>
                          </a:schemeClr>
                        </a:solidFill>
                        <a:latin typeface="Cambria Math" panose="02040503050406030204" pitchFamily="18" charset="0"/>
                      </a:rPr>
                      <m:t>=0.5</m:t>
                    </m:r>
                  </m:oMath>
                </a14:m>
                <a:r>
                  <a:rPr lang="da-DK" sz="1200" i="1" dirty="0">
                    <a:solidFill>
                      <a:schemeClr val="bg2">
                        <a:lumMod val="50000"/>
                      </a:schemeClr>
                    </a:solidFill>
                  </a:rPr>
                  <a:t>.</a:t>
                </a:r>
              </a:p>
            </p:txBody>
          </p:sp>
        </mc:Choice>
        <mc:Fallback>
          <p:sp>
            <p:nvSpPr>
              <p:cNvPr id="66" name="Tekstfelt 65">
                <a:extLst>
                  <a:ext uri="{FF2B5EF4-FFF2-40B4-BE49-F238E27FC236}">
                    <a16:creationId xmlns:a16="http://schemas.microsoft.com/office/drawing/2014/main" id="{DFD66FED-E94F-1077-8FDD-14696035ECE6}"/>
                  </a:ext>
                </a:extLst>
              </p:cNvPr>
              <p:cNvSpPr txBox="1">
                <a:spLocks noRot="1" noChangeAspect="1" noMove="1" noResize="1" noEditPoints="1" noAdjustHandles="1" noChangeArrowheads="1" noChangeShapeType="1" noTextEdit="1"/>
              </p:cNvSpPr>
              <p:nvPr/>
            </p:nvSpPr>
            <p:spPr>
              <a:xfrm>
                <a:off x="7349965" y="4965441"/>
                <a:ext cx="4194035" cy="184666"/>
              </a:xfrm>
              <a:prstGeom prst="rect">
                <a:avLst/>
              </a:prstGeom>
              <a:blipFill>
                <a:blip r:embed="rId11"/>
                <a:stretch>
                  <a:fillRect t="-26667" b="-50000"/>
                </a:stretch>
              </a:blipFill>
            </p:spPr>
            <p:txBody>
              <a:bodyPr/>
              <a:lstStyle/>
              <a:p>
                <a:r>
                  <a:rPr lang="da-DK">
                    <a:noFill/>
                  </a:rPr>
                  <a:t> </a:t>
                </a:r>
              </a:p>
            </p:txBody>
          </p:sp>
        </mc:Fallback>
      </mc:AlternateContent>
    </p:spTree>
    <p:extLst>
      <p:ext uri="{BB962C8B-B14F-4D97-AF65-F5344CB8AC3E}">
        <p14:creationId xmlns:p14="http://schemas.microsoft.com/office/powerpoint/2010/main" val="236324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648000" y="1008000"/>
                <a:ext cx="5113337" cy="4858555"/>
              </a:xfrm>
              <a:prstGeom prst="rect">
                <a:avLst/>
              </a:prstGeom>
            </p:spPr>
            <p:txBody>
              <a:bodyPr vert="horz" lIns="0" tIns="0" rIns="0" bIns="0" rtlCol="0">
                <a:noAutofit/>
              </a:bodyPr>
              <a:lstStyle>
                <a:defPPr>
                  <a:defRPr lang="en-US"/>
                </a:defPPr>
                <a:lvl1pPr marL="179388" indent="-179388">
                  <a:lnSpc>
                    <a:spcPct val="90000"/>
                  </a:lnSpc>
                  <a:spcBef>
                    <a:spcPts val="600"/>
                  </a:spcBef>
                  <a:buFont typeface="Arial" pitchFamily="34" charset="0"/>
                  <a:buChar char="•"/>
                  <a:defRPr sz="2000">
                    <a:solidFill>
                      <a:schemeClr val="accent1"/>
                    </a:solidFill>
                  </a:defRPr>
                </a:lvl1pPr>
                <a:lvl2pPr marL="360000" lvl="1" indent="-180975">
                  <a:lnSpc>
                    <a:spcPct val="90000"/>
                  </a:lnSpc>
                  <a:spcBef>
                    <a:spcPts val="600"/>
                  </a:spcBef>
                  <a:buFont typeface="Arial" panose="020B0604020202020204" pitchFamily="34" charset="0"/>
                  <a:buChar char="•"/>
                  <a:defRPr sz="2000">
                    <a:solidFill>
                      <a:schemeClr val="accent1"/>
                    </a:solidFill>
                  </a:defRPr>
                </a:lvl2pPr>
                <a:lvl3pPr marL="540000" indent="-180975">
                  <a:lnSpc>
                    <a:spcPct val="90000"/>
                  </a:lnSpc>
                  <a:spcBef>
                    <a:spcPts val="600"/>
                  </a:spcBef>
                  <a:buFont typeface="Arial" pitchFamily="34" charset="0"/>
                  <a:buChar char="•"/>
                  <a:defRPr sz="2000">
                    <a:solidFill>
                      <a:schemeClr val="accent1"/>
                    </a:solidFill>
                  </a:defRPr>
                </a:lvl3pPr>
                <a:lvl4pPr marL="720000" indent="-180000">
                  <a:lnSpc>
                    <a:spcPct val="90000"/>
                  </a:lnSpc>
                  <a:spcBef>
                    <a:spcPts val="600"/>
                  </a:spcBef>
                  <a:buFont typeface="Arial" panose="020B0604020202020204" pitchFamily="34" charset="0"/>
                  <a:buChar char="•"/>
                  <a:defRPr sz="2000">
                    <a:solidFill>
                      <a:schemeClr val="accent1"/>
                    </a:solidFill>
                  </a:defRPr>
                </a:lvl4pPr>
                <a:lvl5pPr marL="900000" indent="-180975">
                  <a:lnSpc>
                    <a:spcPct val="90000"/>
                  </a:lnSpc>
                  <a:spcBef>
                    <a:spcPts val="600"/>
                  </a:spcBef>
                  <a:buFont typeface="Arial" panose="020B0604020202020204" pitchFamily="34" charset="0"/>
                  <a:buChar char="•"/>
                  <a:defRPr sz="20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a-DK" dirty="0"/>
                  <a:t>Konstruerede s-kurver kan give et indblik i, om projekterne følger den optimale afvikling af budget.</a:t>
                </a:r>
              </a:p>
              <a:p>
                <a:endParaRPr lang="da-DK" dirty="0"/>
              </a:p>
              <a:p>
                <a:r>
                  <a:rPr lang="da-DK" dirty="0"/>
                  <a:t>Vi kan modellere en ikke-lineær færdiggørelsesgrad, som en funktion af andelen af tid forbrugt, </a:t>
                </a:r>
                <a14:m>
                  <m:oMath xmlns:m="http://schemas.openxmlformats.org/officeDocument/2006/math">
                    <m:r>
                      <a:rPr lang="da-DK"/>
                      <m:t>𝑥</m:t>
                    </m:r>
                  </m:oMath>
                </a14:m>
                <a:r>
                  <a:rPr lang="da-DK" dirty="0"/>
                  <a:t>:</a:t>
                </a:r>
              </a:p>
              <a:p>
                <a:endParaRPr lang="da-DK" dirty="0"/>
              </a:p>
              <a:p>
                <a:endParaRPr lang="da-DK" dirty="0"/>
              </a:p>
              <a:p>
                <a:endParaRPr lang="da-DK" dirty="0"/>
              </a:p>
              <a:p>
                <a:r>
                  <a:rPr lang="da-DK" dirty="0"/>
                  <a:t>hvor vi  definerer hhv. </a:t>
                </a:r>
                <a14:m>
                  <m:oMath xmlns:m="http://schemas.openxmlformats.org/officeDocument/2006/math">
                    <m:r>
                      <a:rPr lang="da-DK"/>
                      <m:t>𝜇</m:t>
                    </m:r>
                    <m:r>
                      <a:rPr lang="da-DK"/>
                      <m:t>=0.</m:t>
                    </m:r>
                    <m:r>
                      <a:rPr lang="en-US" b="0" i="0" smtClean="0">
                        <a:latin typeface="Cambria Math" panose="02040503050406030204" pitchFamily="18" charset="0"/>
                      </a:rPr>
                      <m:t>6</m:t>
                    </m:r>
                  </m:oMath>
                </a14:m>
                <a:r>
                  <a:rPr lang="da-DK" dirty="0"/>
                  <a:t> og </a:t>
                </a:r>
                <a14:m>
                  <m:oMath xmlns:m="http://schemas.openxmlformats.org/officeDocument/2006/math">
                    <m:r>
                      <a:rPr lang="da-DK"/>
                      <m:t>𝜈</m:t>
                    </m:r>
                    <m:r>
                      <a:rPr lang="da-DK"/>
                      <m:t>=</m:t>
                    </m:r>
                    <m:r>
                      <a:rPr lang="en-US" b="0" i="0" smtClean="0">
                        <a:latin typeface="Cambria Math" panose="02040503050406030204" pitchFamily="18" charset="0"/>
                      </a:rPr>
                      <m:t>2</m:t>
                    </m:r>
                  </m:oMath>
                </a14:m>
                <a:r>
                  <a:rPr lang="da-DK" dirty="0"/>
                  <a:t>.</a:t>
                </a:r>
              </a:p>
              <a:p>
                <a:endParaRPr lang="da-DK" dirty="0"/>
              </a:p>
              <a:p>
                <a:endParaRPr lang="da-DK" dirty="0"/>
              </a:p>
              <a:p>
                <a:endParaRPr lang="da-DK" dirty="0"/>
              </a:p>
              <a:p>
                <a:endParaRPr lang="da-DK" dirty="0"/>
              </a:p>
              <a:p>
                <a:endParaRPr lang="da-DK" dirty="0"/>
              </a:p>
            </p:txBody>
          </p:sp>
        </mc:Choice>
        <mc:Fallback>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648000" y="1008000"/>
                <a:ext cx="5113337" cy="4858555"/>
              </a:xfrm>
              <a:prstGeom prst="rect">
                <a:avLst/>
              </a:prstGeom>
              <a:blipFill>
                <a:blip r:embed="rId7"/>
                <a:stretch>
                  <a:fillRect l="-2861" t="-2258" r="-2503"/>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documentclass{article}&#10;\usepackage{amsmath}&#10;\pagestyle{empty}&#10;\begin{document}&#10;&#10;\begin{equation*}&#10;\Phi(x;\mu,\nu)=\left[1+\left(\frac{x(1-\mu)}{\mu(1-x)}\right)^{-\nu}\right]^{-1}&#10;\end{equation*}&#10;&#10;&#10;\end{document}" title="IguanaTex Bitmap Display">
            <a:extLst>
              <a:ext uri="{FF2B5EF4-FFF2-40B4-BE49-F238E27FC236}">
                <a16:creationId xmlns:a16="http://schemas.microsoft.com/office/drawing/2014/main" id="{0F345685-9460-E07A-59BB-0DD576793740}"/>
              </a:ext>
            </a:extLst>
          </p:cNvPr>
          <p:cNvPicPr>
            <a:picLocks noChangeAspect="1"/>
          </p:cNvPicPr>
          <p:nvPr>
            <p:custDataLst>
              <p:tags r:id="rId2"/>
            </p:custDataLst>
          </p:nvPr>
        </p:nvPicPr>
        <p:blipFill>
          <a:blip r:embed="rId8"/>
          <a:stretch>
            <a:fillRect/>
          </a:stretch>
        </p:blipFill>
        <p:spPr>
          <a:xfrm>
            <a:off x="927361" y="3269981"/>
            <a:ext cx="3985992" cy="815545"/>
          </a:xfrm>
          <a:prstGeom prst="rect">
            <a:avLst/>
          </a:prstGeom>
        </p:spPr>
      </p:pic>
      <p:pic>
        <p:nvPicPr>
          <p:cNvPr id="3" name="Grafik 2">
            <a:extLst>
              <a:ext uri="{FF2B5EF4-FFF2-40B4-BE49-F238E27FC236}">
                <a16:creationId xmlns:a16="http://schemas.microsoft.com/office/drawing/2014/main" id="{E2140EE9-63A9-D47F-489B-3B1D5713121C}"/>
              </a:ext>
            </a:extLst>
          </p:cNvPr>
          <p:cNvPicPr>
            <a:picLocks noChangeAspect="1"/>
          </p:cNvPicPr>
          <p:nvPr/>
        </p:nvPicPr>
        <p:blipFill>
          <a:blip r:embed="rId9">
            <a:extLst>
              <a:ext uri="{96DAC541-7B7A-43D3-8B79-37D633B846F1}">
                <asvg:svgBlip xmlns:asvg="http://schemas.microsoft.com/office/drawing/2016/SVG/main" r:embed="rId10" r:link="rId11"/>
              </a:ext>
            </a:extLst>
          </a:blip>
          <a:srcRect/>
          <a:stretch>
            <a:fillRect/>
          </a:stretch>
        </p:blipFill>
        <p:spPr>
          <a:xfrm>
            <a:off x="6040698" y="1008000"/>
            <a:ext cx="5578195" cy="2789098"/>
          </a:xfrm>
          <a:prstGeom prst="rect">
            <a:avLst/>
          </a:prstGeom>
        </p:spPr>
      </p:pic>
      <p:sp>
        <p:nvSpPr>
          <p:cNvPr id="6" name="Tekstfelt 5">
            <a:extLst>
              <a:ext uri="{FF2B5EF4-FFF2-40B4-BE49-F238E27FC236}">
                <a16:creationId xmlns:a16="http://schemas.microsoft.com/office/drawing/2014/main" id="{DBC175E1-CAC5-9F96-B54C-DE5DC9D975AA}"/>
              </a:ext>
            </a:extLst>
          </p:cNvPr>
          <p:cNvSpPr txBox="1"/>
          <p:nvPr/>
        </p:nvSpPr>
        <p:spPr>
          <a:xfrm>
            <a:off x="6732777" y="3941892"/>
            <a:ext cx="4194035" cy="184666"/>
          </a:xfrm>
          <a:prstGeom prst="rect">
            <a:avLst/>
          </a:prstGeom>
        </p:spPr>
        <p:txBody>
          <a:bodyPr vert="horz" wrap="square" lIns="0" tIns="0" rIns="0" bIns="0" rtlCol="0">
            <a:spAutoFit/>
          </a:bodyPr>
          <a:lstStyle/>
          <a:p>
            <a:pPr algn="ctr"/>
            <a:r>
              <a:rPr lang="da-DK" sz="1200" i="1" dirty="0">
                <a:solidFill>
                  <a:schemeClr val="bg2">
                    <a:lumMod val="50000"/>
                  </a:schemeClr>
                </a:solidFill>
              </a:rPr>
              <a:t>Eksempel på s-kurver fra S309436 – DitUr Domicil.</a:t>
            </a:r>
          </a:p>
        </p:txBody>
      </p:sp>
    </p:spTree>
    <p:extLst>
      <p:ext uri="{BB962C8B-B14F-4D97-AF65-F5344CB8AC3E}">
        <p14:creationId xmlns:p14="http://schemas.microsoft.com/office/powerpoint/2010/main" val="16640883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Tal fra Danmarks Statistik giver et billede af en presset situation i branchen.</a:t>
            </a:r>
          </a:p>
          <a:p>
            <a:r>
              <a:rPr lang="da-DK" sz="1400" dirty="0"/>
              <a:t>2022 er præget af en tilbagegang i branchen generelt.</a:t>
            </a:r>
          </a:p>
          <a:p>
            <a:r>
              <a:rPr lang="da-DK" sz="1400" dirty="0"/>
              <a:t>I løbet af 2022 faldt producent-tillidsindekset 20%-point. Der har ikke været markant fremgang siden.</a:t>
            </a:r>
          </a:p>
          <a:p>
            <a:r>
              <a:rPr lang="da-DK" sz="1400" dirty="0"/>
              <a:t>Andelen af firmaer, som i branchen vurderer, at der er signifikante begrænsninger på produktionskapaciteten, er steget ~40% siden december 2022.</a:t>
            </a:r>
          </a:p>
          <a:p>
            <a:endParaRPr lang="da-DK" sz="1400" dirty="0"/>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5" name="Grafik 4">
            <a:extLst>
              <a:ext uri="{FF2B5EF4-FFF2-40B4-BE49-F238E27FC236}">
                <a16:creationId xmlns:a16="http://schemas.microsoft.com/office/drawing/2014/main" id="{61AC1B65-A75D-8FEA-A4C1-B1F7480F9899}"/>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779149" y="1088631"/>
            <a:ext cx="7754038" cy="3877019"/>
          </a:xfrm>
          <a:prstGeom prst="rect">
            <a:avLst/>
          </a:prstGeom>
        </p:spPr>
      </p:pic>
    </p:spTree>
    <p:extLst>
      <p:ext uri="{BB962C8B-B14F-4D97-AF65-F5344CB8AC3E}">
        <p14:creationId xmlns:p14="http://schemas.microsoft.com/office/powerpoint/2010/main" val="2191927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Hvilke variable kan vi bruge til at prædiktere det endelige dækningsbidrag?</a:t>
            </a:r>
          </a:p>
          <a:p>
            <a:r>
              <a:rPr lang="da-DK" sz="1400" dirty="0"/>
              <a:t>Kontraktarbejde er positivt korreleret med endeligt dækningsbidrag.</a:t>
            </a:r>
          </a:p>
          <a:p>
            <a:r>
              <a:rPr lang="da-DK" sz="1400" dirty="0"/>
              <a:t>Afvigelserne fra omkostningernes s-kurve er korreleret. </a:t>
            </a:r>
          </a:p>
          <a:p>
            <a:r>
              <a:rPr lang="da-DK" sz="1400" dirty="0"/>
              <a:t>Fakturerbare timer er korreleret.</a:t>
            </a:r>
          </a:p>
          <a:p>
            <a:r>
              <a:rPr lang="da-DK" sz="1400" dirty="0"/>
              <a:t>Andelen af omkostninger til materialer er korreleret.</a:t>
            </a:r>
          </a:p>
          <a:p>
            <a:r>
              <a:rPr lang="da-DK" sz="1400" dirty="0"/>
              <a:t>Ingen produktions-begrænsninger i branchen er korreleret. </a:t>
            </a:r>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4315960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Hvilke variable kan vi bruge til at prædiktere det endelige dækningsbidrag?</a:t>
            </a:r>
          </a:p>
          <a:p>
            <a:r>
              <a:rPr lang="da-DK" sz="1400" dirty="0"/>
              <a:t>Ved at inkluderet tilbudskalk. og produktkalk. kan vi give modellen et bud på et basis-niveau, og bruge de resterende variabler til at modellere ændringer.</a:t>
            </a:r>
          </a:p>
          <a:p>
            <a:r>
              <a:rPr lang="da-DK" sz="1400" dirty="0"/>
              <a:t>Vi udelader slutvurderingen, da dette er vores benchmark.</a:t>
            </a:r>
          </a:p>
          <a:p>
            <a:r>
              <a:rPr lang="da-DK" sz="1400" dirty="0"/>
              <a:t>Hvis modellen ikke kan give et bedre bud end sagsansvarlige, så er modellen ikke brugbar.</a:t>
            </a:r>
          </a:p>
          <a:p>
            <a:pPr marL="0" indent="0">
              <a:buNone/>
            </a:pPr>
            <a:endParaRPr lang="da-DK" sz="1400"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1813874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FA525-500E-18C1-4247-C00AF685E7F5}"/>
              </a:ext>
            </a:extLst>
          </p:cNvPr>
          <p:cNvGraphicFramePr>
            <a:graphicFrameLocks noChangeAspect="1"/>
          </p:cNvGraphicFramePr>
          <p:nvPr>
            <p:custDataLst>
              <p:tags r:id="rId1"/>
            </p:custDataLst>
            <p:extLst>
              <p:ext uri="{D42A27DB-BD31-4B8C-83A1-F6EECF244321}">
                <p14:modId xmlns:p14="http://schemas.microsoft.com/office/powerpoint/2010/main" val="3991039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CFBFA525-500E-18C1-4247-C00AF685E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11FE1D-FF86-0AFA-5921-A013D2808BA6}"/>
              </a:ext>
            </a:extLst>
          </p:cNvPr>
          <p:cNvSpPr>
            <a:spLocks noGrp="1"/>
          </p:cNvSpPr>
          <p:nvPr>
            <p:ph type="ctrTitle"/>
          </p:nvPr>
        </p:nvSpPr>
        <p:spPr/>
        <p:txBody>
          <a:bodyPr vert="horz"/>
          <a:lstStyle/>
          <a:p>
            <a:r>
              <a:rPr lang="da-DK" dirty="0"/>
              <a:t>Lineære modeller</a:t>
            </a:r>
          </a:p>
        </p:txBody>
      </p:sp>
      <p:sp>
        <p:nvSpPr>
          <p:cNvPr id="3" name="Pladsholder til tekst 2">
            <a:extLst>
              <a:ext uri="{FF2B5EF4-FFF2-40B4-BE49-F238E27FC236}">
                <a16:creationId xmlns:a16="http://schemas.microsoft.com/office/drawing/2014/main" id="{425636DF-3A30-B0AE-26C2-D17CA8C76E4F}"/>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90539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3854844"/>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Danmarks Statistik</a:t>
            </a:r>
          </a:p>
          <a:p>
            <a:r>
              <a:rPr lang="da-DK" sz="1400" dirty="0"/>
              <a:t>Følger tendensen.</a:t>
            </a:r>
          </a:p>
          <a:p>
            <a:r>
              <a:rPr lang="da-DK" sz="1400" dirty="0"/>
              <a:t>Nyere sager kan i højere grad tilskrives makroøkonomiske tendenser.</a:t>
            </a:r>
          </a:p>
          <a:p>
            <a:r>
              <a:rPr lang="da-DK" sz="1400" dirty="0"/>
              <a:t>Gennemsnitlig procentvis absolut afvigelse </a:t>
            </a:r>
            <a:r>
              <a:rPr lang="da-DK" sz="1400" i="1" dirty="0"/>
              <a:t>(1)</a:t>
            </a:r>
            <a:r>
              <a:rPr lang="da-DK" sz="1400" dirty="0"/>
              <a:t> på 18,4%.</a:t>
            </a:r>
          </a:p>
          <a:p>
            <a:endParaRPr lang="da-DK" sz="1400" dirty="0"/>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6" name="Billede 5"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CC09BA07-FB99-0CBB-028F-8EDA141C0993}"/>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3816713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S-kurver</a:t>
            </a:r>
          </a:p>
          <a:p>
            <a:r>
              <a:rPr lang="da-DK" sz="1400" dirty="0"/>
              <a:t>Følger generelt tendensen, men overestimerer ændringerne.</a:t>
            </a:r>
          </a:p>
          <a:p>
            <a:r>
              <a:rPr lang="da-DK" sz="1400" dirty="0"/>
              <a:t>Særdeles følsom overfor fejl i data, hvilket bl.a. gør den ubrugelig i 22/23.</a:t>
            </a:r>
          </a:p>
          <a:p>
            <a:r>
              <a:rPr lang="da-DK" sz="1400" dirty="0"/>
              <a:t>Hvis vi isolerer for fejlen i 22/23, klarer modellen sig meget godt.</a:t>
            </a:r>
          </a:p>
          <a:p>
            <a:r>
              <a:rPr lang="da-DK" sz="1400" dirty="0"/>
              <a:t>Gennemsnitlig procentvis absolut afvigelse </a:t>
            </a:r>
            <a:r>
              <a:rPr lang="da-DK" sz="1400" i="1" dirty="0"/>
              <a:t>(1)</a:t>
            </a:r>
            <a:r>
              <a:rPr lang="da-DK" sz="1400" dirty="0"/>
              <a:t> på 21%.</a:t>
            </a:r>
          </a:p>
          <a:p>
            <a:pPr marL="0" indent="0">
              <a:buNone/>
            </a:pPr>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1ED0200A-B50E-15E7-CE95-1D7A4E0500E3}"/>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12796891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Lineær model med lags og budget</a:t>
            </a:r>
          </a:p>
          <a:p>
            <a:r>
              <a:rPr lang="da-DK" sz="1400" dirty="0"/>
              <a:t>Følger udviklingen pænt, men er i højere grad </a:t>
            </a:r>
            <a:r>
              <a:rPr lang="da-DK" sz="1400" dirty="0" err="1"/>
              <a:t>biased</a:t>
            </a:r>
            <a:r>
              <a:rPr lang="da-DK" sz="1400" dirty="0"/>
              <a:t>.</a:t>
            </a:r>
          </a:p>
          <a:p>
            <a:r>
              <a:rPr lang="da-DK" sz="1400" dirty="0"/>
              <a:t>Gennemsnitlig procentvis absolut afvigelse </a:t>
            </a:r>
            <a:r>
              <a:rPr lang="da-DK" sz="1400" i="1" dirty="0"/>
              <a:t>(1)</a:t>
            </a:r>
            <a:r>
              <a:rPr lang="da-DK" sz="1400" dirty="0"/>
              <a:t> på 41,5%.</a:t>
            </a:r>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4655B969-C4CA-FC5A-9D60-2702F8B6808E}"/>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21981073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Ligevægtet</a:t>
            </a:r>
            <a:r>
              <a:rPr lang="da-DK" dirty="0"/>
              <a:t> kombination af DST, S-kurver og OLS.</a:t>
            </a:r>
          </a:p>
          <a:p>
            <a:r>
              <a:rPr lang="da-DK" sz="1400" dirty="0"/>
              <a:t>En smule bias opadtil, men ikke i så høj grad som OLS.</a:t>
            </a:r>
          </a:p>
          <a:p>
            <a:r>
              <a:rPr lang="da-DK" sz="1400" dirty="0"/>
              <a:t>Gennemsnitlig procentvis absolut afvigelse </a:t>
            </a:r>
            <a:r>
              <a:rPr lang="da-DK" sz="1400" i="1" dirty="0"/>
              <a:t>(1)</a:t>
            </a:r>
            <a:r>
              <a:rPr lang="da-DK" sz="1400" dirty="0"/>
              <a:t> på 20,2%.</a:t>
            </a:r>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3" name="Billede 2"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91BCBFCE-5E88-D83C-416C-A9F475A4B176}"/>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160220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CA-OLS</a:t>
            </a:r>
          </a:p>
          <a:p>
            <a:r>
              <a:rPr lang="da-DK" sz="1400" dirty="0"/>
              <a:t>Opdeling af ens projekter, som bliver trænet på hver deres model.</a:t>
            </a:r>
          </a:p>
          <a:p>
            <a:r>
              <a:rPr lang="da-DK" sz="1400" dirty="0"/>
              <a:t>Clusters defineres som grupper med høj ensartethed indenfor gruppen og lav ensartethed mellem grupperne.</a:t>
            </a:r>
          </a:p>
          <a:p>
            <a:r>
              <a:rPr lang="da-DK" sz="1400" dirty="0"/>
              <a:t>Her varieres antallet af grupper. En stigning i antallet af grupper kan medføre højere ensartethed indenfor grupperne, men også mellem grupperne.</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20842571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 af CA-OLS.</a:t>
            </a:r>
          </a:p>
          <a:p>
            <a:r>
              <a:rPr lang="da-DK" sz="1400" dirty="0"/>
              <a:t>Intet bias generelt.</a:t>
            </a:r>
          </a:p>
          <a:p>
            <a:r>
              <a:rPr lang="da-DK" sz="1400" dirty="0"/>
              <a:t>Gennemsnitlig procentvis absolut afvigelse </a:t>
            </a:r>
            <a:r>
              <a:rPr lang="da-DK" sz="1400" i="1" dirty="0"/>
              <a:t>(1)</a:t>
            </a:r>
            <a:r>
              <a:rPr lang="da-DK" sz="1400" dirty="0"/>
              <a:t> på 33%.</a:t>
            </a:r>
          </a:p>
          <a:p>
            <a:pPr marL="0" indent="0">
              <a:buNone/>
            </a:pPr>
            <a:endParaRPr lang="da-DK" sz="1400" dirty="0"/>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CFB3962C-F4C4-2511-16B0-8E9661D3FAE8}"/>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30706271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169521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 af DST og CA-OLS</a:t>
            </a:r>
          </a:p>
          <a:p>
            <a:r>
              <a:rPr lang="da-DK" sz="1400" dirty="0"/>
              <a:t>Reducerer bias i forhold CA-OLS.</a:t>
            </a:r>
          </a:p>
          <a:p>
            <a:r>
              <a:rPr lang="da-DK" sz="1400" dirty="0"/>
              <a:t>Gennemsnitlig procentvis absolut afvigelse </a:t>
            </a:r>
            <a:r>
              <a:rPr lang="da-DK" sz="1400" i="1" dirty="0"/>
              <a:t>(1)</a:t>
            </a:r>
            <a:r>
              <a:rPr lang="da-DK" sz="1400" dirty="0"/>
              <a:t> på 18%.</a:t>
            </a:r>
          </a:p>
          <a:p>
            <a:endParaRPr lang="da-DK" sz="1400" dirty="0"/>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38C593B5-A0A3-4D89-061C-44A774E26E4F}"/>
              </a:ext>
            </a:extLst>
          </p:cNvPr>
          <p:cNvPicPr>
            <a:picLocks noChangeAspect="1"/>
          </p:cNvPicPr>
          <p:nvPr>
            <p:custDataLst>
              <p:tags r:id="rId2"/>
            </p:custDataLst>
          </p:nvPr>
        </p:nvPicPr>
        <p:blipFill>
          <a:blip r:embed="rId9"/>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7555723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FA525-500E-18C1-4247-C00AF685E7F5}"/>
              </a:ext>
            </a:extLst>
          </p:cNvPr>
          <p:cNvGraphicFramePr>
            <a:graphicFrameLocks noChangeAspect="1"/>
          </p:cNvGraphicFramePr>
          <p:nvPr>
            <p:custDataLst>
              <p:tags r:id="rId1"/>
            </p:custDataLst>
            <p:extLst>
              <p:ext uri="{D42A27DB-BD31-4B8C-83A1-F6EECF244321}">
                <p14:modId xmlns:p14="http://schemas.microsoft.com/office/powerpoint/2010/main" val="111299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CFBFA525-500E-18C1-4247-C00AF685E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11FE1D-FF86-0AFA-5921-A013D2808BA6}"/>
              </a:ext>
            </a:extLst>
          </p:cNvPr>
          <p:cNvSpPr>
            <a:spLocks noGrp="1"/>
          </p:cNvSpPr>
          <p:nvPr>
            <p:ph type="ctrTitle"/>
          </p:nvPr>
        </p:nvSpPr>
        <p:spPr/>
        <p:txBody>
          <a:bodyPr vert="horz"/>
          <a:lstStyle/>
          <a:p>
            <a:r>
              <a:rPr lang="da-DK" dirty="0"/>
              <a:t>Maskinlæringsmodeller</a:t>
            </a:r>
          </a:p>
        </p:txBody>
      </p:sp>
      <p:sp>
        <p:nvSpPr>
          <p:cNvPr id="3" name="Pladsholder til tekst 2">
            <a:extLst>
              <a:ext uri="{FF2B5EF4-FFF2-40B4-BE49-F238E27FC236}">
                <a16:creationId xmlns:a16="http://schemas.microsoft.com/office/drawing/2014/main" id="{425636DF-3A30-B0AE-26C2-D17CA8C76E4F}"/>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32527667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Elastic</a:t>
            </a:r>
            <a:r>
              <a:rPr lang="da-DK" dirty="0"/>
              <a:t> Net</a:t>
            </a:r>
          </a:p>
          <a:p>
            <a:r>
              <a:rPr lang="da-DK" sz="1400" dirty="0"/>
              <a:t>Generelt bias opadtil. Det kan muligvis justeres, ved at fintune modellens parametre.</a:t>
            </a:r>
          </a:p>
          <a:p>
            <a:r>
              <a:rPr lang="da-DK" sz="1400" dirty="0"/>
              <a:t>Kan i høj grad bruges til at beskrive tendens, men ikke niveau.</a:t>
            </a:r>
          </a:p>
          <a:p>
            <a:r>
              <a:rPr lang="da-DK" sz="1400" dirty="0"/>
              <a:t>Gennemsnitlig procentvis absolut afvigelse </a:t>
            </a:r>
            <a:r>
              <a:rPr lang="da-DK" sz="1400" i="1" dirty="0"/>
              <a:t>(1)</a:t>
            </a:r>
            <a:r>
              <a:rPr lang="da-DK" sz="1400" dirty="0"/>
              <a:t> på 12,8%.</a:t>
            </a:r>
          </a:p>
          <a:p>
            <a:r>
              <a:rPr lang="da-DK" sz="1400" dirty="0"/>
              <a:t>Gennemsnitlige absolutte afvigelser (2) på 149.000 kr.</a:t>
            </a:r>
          </a:p>
          <a:p>
            <a:pPr marL="0" indent="0">
              <a:buNone/>
            </a:pPr>
            <a:endParaRPr lang="da-DK" sz="1400" dirty="0"/>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27EB888D-A4A9-CE63-8130-10ED9858A640}"/>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14316175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Random</a:t>
            </a:r>
            <a:r>
              <a:rPr lang="da-DK" dirty="0"/>
              <a:t> Forest</a:t>
            </a:r>
          </a:p>
          <a:p>
            <a:r>
              <a:rPr lang="da-DK" sz="1400" dirty="0"/>
              <a:t>Fuldt sæt variable.</a:t>
            </a:r>
          </a:p>
          <a:p>
            <a:r>
              <a:rPr lang="da-DK" sz="1400" dirty="0"/>
              <a:t>Er ikke brugbar.</a:t>
            </a:r>
          </a:p>
          <a:p>
            <a:r>
              <a:rPr lang="da-DK" sz="1400" dirty="0"/>
              <a:t>Gennemsnitlig procentvis absolut afvigelse </a:t>
            </a:r>
            <a:r>
              <a:rPr lang="da-DK" sz="1400" i="1" dirty="0"/>
              <a:t>(1)</a:t>
            </a:r>
            <a:r>
              <a:rPr lang="da-DK" sz="1400" dirty="0"/>
              <a:t> på 58%.</a:t>
            </a:r>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FDBFD339-2B15-D5FB-012C-0FF1396B1DEA}"/>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12501512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Random</a:t>
            </a:r>
            <a:r>
              <a:rPr lang="da-DK" dirty="0"/>
              <a:t> Forest</a:t>
            </a:r>
          </a:p>
          <a:p>
            <a:r>
              <a:rPr lang="da-DK" sz="1400" dirty="0"/>
              <a:t>Udvalgte variable ud fra korrelationsmatricen.</a:t>
            </a:r>
          </a:p>
          <a:p>
            <a:r>
              <a:rPr lang="da-DK" sz="1400" dirty="0"/>
              <a:t>Mere brugbar end fuld RF, men udviser fortsat store fejl.</a:t>
            </a:r>
          </a:p>
          <a:p>
            <a:r>
              <a:rPr lang="da-DK" sz="1400" dirty="0"/>
              <a:t>Gennemsnitlig procentvis absolut afvigelse </a:t>
            </a:r>
            <a:r>
              <a:rPr lang="da-DK" sz="1400" i="1" dirty="0"/>
              <a:t>(1)</a:t>
            </a:r>
            <a:r>
              <a:rPr lang="da-DK" sz="1400" dirty="0"/>
              <a:t> på 25,6%.</a:t>
            </a:r>
          </a:p>
          <a:p>
            <a:endParaRPr lang="da-DK" sz="1400" dirty="0"/>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8E018B45-055E-7917-194F-AC1F91BF3AE9}"/>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26889038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Extra Trees</a:t>
            </a:r>
          </a:p>
          <a:p>
            <a:r>
              <a:rPr lang="da-DK" sz="1400" dirty="0"/>
              <a:t>Kan ikke bruges.</a:t>
            </a:r>
          </a:p>
          <a:p>
            <a:r>
              <a:rPr lang="da-DK" sz="1400" dirty="0"/>
              <a:t>Gennemsnitlig procentvis absolut afvigelse </a:t>
            </a:r>
            <a:r>
              <a:rPr lang="da-DK" sz="1400" i="1" dirty="0"/>
              <a:t>(1)</a:t>
            </a:r>
            <a:r>
              <a:rPr lang="da-DK" sz="1400" dirty="0"/>
              <a:t> på 59%.</a:t>
            </a:r>
          </a:p>
          <a:p>
            <a:pPr marL="0" indent="0">
              <a:buNone/>
            </a:pPr>
            <a:endParaRPr lang="da-DK" sz="1400" dirty="0"/>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A8939311-BFFD-B889-65D0-63A766808E7F}"/>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6843031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 af RF og ET</a:t>
            </a:r>
          </a:p>
          <a:p>
            <a:r>
              <a:rPr lang="da-DK" sz="1400" dirty="0"/>
              <a:t>Modellernes fejl udligner ikke hinanden, og en kombination kan ikke bruges</a:t>
            </a:r>
          </a:p>
          <a:p>
            <a:r>
              <a:rPr lang="da-DK" sz="1400" dirty="0"/>
              <a:t>Gennemsnitlig procentvis absolut afvigelse </a:t>
            </a:r>
            <a:r>
              <a:rPr lang="da-DK" sz="1400" i="1" dirty="0"/>
              <a:t>(1)</a:t>
            </a:r>
            <a:r>
              <a:rPr lang="da-DK" sz="1400" dirty="0"/>
              <a:t> på 58,6%.</a:t>
            </a:r>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85F10660-C458-6202-9293-4BA27BE5094D}"/>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39329182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Gradient </a:t>
            </a:r>
            <a:r>
              <a:rPr lang="da-DK" dirty="0" err="1"/>
              <a:t>Boosting</a:t>
            </a:r>
            <a:endParaRPr lang="da-DK" dirty="0"/>
          </a:p>
          <a:p>
            <a:r>
              <a:rPr lang="da-DK" sz="1400" dirty="0"/>
              <a:t>Ikke brugbar.</a:t>
            </a:r>
          </a:p>
          <a:p>
            <a:r>
              <a:rPr lang="da-DK" sz="1400" dirty="0"/>
              <a:t>Gennemsnitlig procentvis absolut afvigelse </a:t>
            </a:r>
            <a:r>
              <a:rPr lang="da-DK" sz="1400" i="1" dirty="0"/>
              <a:t>(1)</a:t>
            </a:r>
            <a:r>
              <a:rPr lang="da-DK" sz="1400" dirty="0"/>
              <a:t> på 55,3%.</a:t>
            </a:r>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AC1E59B1-D618-5E76-60D5-4803EA52917C}"/>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4030577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XG Boost</a:t>
            </a:r>
          </a:p>
          <a:p>
            <a:r>
              <a:rPr lang="da-DK" sz="1400" dirty="0"/>
              <a:t>Ikke brugbar.</a:t>
            </a:r>
          </a:p>
          <a:p>
            <a:r>
              <a:rPr lang="da-DK" sz="1400" dirty="0"/>
              <a:t>Gennemsnitlig procentvis absolut afvigelse </a:t>
            </a:r>
            <a:r>
              <a:rPr lang="da-DK" sz="1400" i="1" dirty="0"/>
              <a:t>(1)</a:t>
            </a:r>
            <a:r>
              <a:rPr lang="da-DK" sz="1400" dirty="0"/>
              <a:t> på 53,6%.</a:t>
            </a:r>
          </a:p>
          <a:p>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90163ED5-D2A5-ACE4-4161-A4442EB303D4}"/>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18953183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 af GB og XGB</a:t>
            </a:r>
          </a:p>
          <a:p>
            <a:r>
              <a:rPr lang="da-DK" sz="1400" dirty="0"/>
              <a:t>Modellernes fejl udligner ikke hinanden, og en kombination kan ikke bruges</a:t>
            </a:r>
          </a:p>
          <a:p>
            <a:r>
              <a:rPr lang="da-DK" sz="1400" dirty="0"/>
              <a:t>Gennemsnitlig procentvis absolut afvigelse </a:t>
            </a:r>
            <a:r>
              <a:rPr lang="da-DK" sz="1400" i="1" dirty="0"/>
              <a:t>(1)</a:t>
            </a:r>
            <a:r>
              <a:rPr lang="da-DK" sz="1400" dirty="0"/>
              <a:t> på 55,2%.</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6CEFFA60-89BA-3347-AAC1-9544B7D40E08}"/>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21117278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FA525-500E-18C1-4247-C00AF685E7F5}"/>
              </a:ext>
            </a:extLst>
          </p:cNvPr>
          <p:cNvGraphicFramePr>
            <a:graphicFrameLocks noChangeAspect="1"/>
          </p:cNvGraphicFramePr>
          <p:nvPr>
            <p:custDataLst>
              <p:tags r:id="rId1"/>
            </p:custDataLst>
            <p:extLst>
              <p:ext uri="{D42A27DB-BD31-4B8C-83A1-F6EECF244321}">
                <p14:modId xmlns:p14="http://schemas.microsoft.com/office/powerpoint/2010/main" val="768159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CFBFA525-500E-18C1-4247-C00AF685E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11FE1D-FF86-0AFA-5921-A013D2808BA6}"/>
              </a:ext>
            </a:extLst>
          </p:cNvPr>
          <p:cNvSpPr>
            <a:spLocks noGrp="1"/>
          </p:cNvSpPr>
          <p:nvPr>
            <p:ph type="ctrTitle"/>
          </p:nvPr>
        </p:nvSpPr>
        <p:spPr/>
        <p:txBody>
          <a:bodyPr vert="horz"/>
          <a:lstStyle/>
          <a:p>
            <a:r>
              <a:rPr lang="da-DK" dirty="0"/>
              <a:t>Deep Learning</a:t>
            </a:r>
          </a:p>
        </p:txBody>
      </p:sp>
      <p:sp>
        <p:nvSpPr>
          <p:cNvPr id="3" name="Pladsholder til tekst 2">
            <a:extLst>
              <a:ext uri="{FF2B5EF4-FFF2-40B4-BE49-F238E27FC236}">
                <a16:creationId xmlns:a16="http://schemas.microsoft.com/office/drawing/2014/main" id="{425636DF-3A30-B0AE-26C2-D17CA8C76E4F}"/>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37458072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Valg af batch </a:t>
            </a:r>
            <a:r>
              <a:rPr lang="da-DK" dirty="0" err="1"/>
              <a:t>size</a:t>
            </a:r>
            <a:r>
              <a:rPr lang="da-DK" dirty="0"/>
              <a:t>.</a:t>
            </a:r>
          </a:p>
          <a:p>
            <a:r>
              <a:rPr lang="da-DK" sz="1400" dirty="0"/>
              <a:t>Batch </a:t>
            </a:r>
            <a:r>
              <a:rPr lang="da-DK" sz="1400" dirty="0" err="1"/>
              <a:t>size</a:t>
            </a:r>
            <a:r>
              <a:rPr lang="da-DK" sz="1400" dirty="0"/>
              <a:t> har indflydelse på hvor mange observationer modellen ser, før den kommer med en prædiktion.</a:t>
            </a:r>
          </a:p>
          <a:p>
            <a:r>
              <a:rPr lang="da-DK" sz="1400" dirty="0"/>
              <a:t>Modellen performer generelt lige godt ved 32 og 64, så på baggrund af </a:t>
            </a:r>
            <a:r>
              <a:rPr lang="da-DK" sz="1400" dirty="0" err="1"/>
              <a:t>loss</a:t>
            </a:r>
            <a:r>
              <a:rPr lang="da-DK" sz="1400" dirty="0"/>
              <a:t> er der ingen klar vinder.</a:t>
            </a:r>
          </a:p>
          <a:p>
            <a:r>
              <a:rPr lang="da-DK" sz="1400" dirty="0"/>
              <a:t>Batch </a:t>
            </a:r>
            <a:r>
              <a:rPr lang="da-DK" sz="1400" dirty="0" err="1"/>
              <a:t>size</a:t>
            </a:r>
            <a:r>
              <a:rPr lang="da-DK" sz="1400" dirty="0"/>
              <a:t> 32 er </a:t>
            </a:r>
            <a:r>
              <a:rPr lang="da-DK" sz="1400" dirty="0" err="1"/>
              <a:t>ceteris</a:t>
            </a:r>
            <a:r>
              <a:rPr lang="da-DK" sz="1400" dirty="0"/>
              <a:t> paribus hurtigere i alle aspekter, og derfor vælges denne.</a:t>
            </a:r>
          </a:p>
          <a:p>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33559942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Loss</a:t>
            </a:r>
            <a:r>
              <a:rPr lang="da-DK" dirty="0"/>
              <a:t> på mest optimale model.</a:t>
            </a:r>
          </a:p>
          <a:p>
            <a:r>
              <a:rPr lang="da-DK" sz="1400" dirty="0"/>
              <a:t>Det mest væsentlige er at vores model konvergerer mod en stabil </a:t>
            </a:r>
            <a:r>
              <a:rPr lang="da-DK" sz="1400" dirty="0" err="1"/>
              <a:t>loss</a:t>
            </a:r>
            <a:r>
              <a:rPr lang="da-DK" sz="1400" dirty="0"/>
              <a:t>. </a:t>
            </a:r>
          </a:p>
          <a:p>
            <a:r>
              <a:rPr lang="da-DK" sz="1400" dirty="0"/>
              <a:t>Den grønne linje indikerer fejlen ved træningsdata, og viser overvejende konvergens.</a:t>
            </a:r>
          </a:p>
          <a:p>
            <a:r>
              <a:rPr lang="da-DK" sz="1400" dirty="0"/>
              <a:t>Ved etablering af model, vil det være nødvendigt at øge antallet af </a:t>
            </a:r>
            <a:r>
              <a:rPr lang="da-DK" sz="1400" dirty="0" err="1"/>
              <a:t>træninger</a:t>
            </a:r>
            <a:r>
              <a:rPr lang="da-DK" sz="1400" dirty="0"/>
              <a:t> (</a:t>
            </a:r>
            <a:r>
              <a:rPr lang="da-DK" sz="1400" dirty="0" err="1"/>
              <a:t>epoch</a:t>
            </a:r>
            <a:r>
              <a:rPr lang="da-DK" sz="1400" dirty="0"/>
              <a:t>), så vi kan være helt sikre på konvergens.</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r:link="rId8"/>
              </a:ext>
            </a:extLst>
          </a:blip>
          <a:srcRect/>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24558440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LSTM</a:t>
            </a:r>
          </a:p>
          <a:p>
            <a:r>
              <a:rPr lang="da-DK" sz="1400" dirty="0"/>
              <a:t>Umiddelbart en dårlig model.</a:t>
            </a:r>
          </a:p>
          <a:p>
            <a:r>
              <a:rPr lang="da-DK" sz="1400" dirty="0"/>
              <a:t>Modellen er god til at opfange udsving, men overestimerer effekten i stor grad.</a:t>
            </a:r>
          </a:p>
          <a:p>
            <a:r>
              <a:rPr lang="da-DK" sz="1400" dirty="0"/>
              <a:t>Modellen skal trænes yderligere for overhovedet at give brugbare resultater.</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7">
            <a:extLst>
              <a:ext uri="{96DAC541-7B7A-43D3-8B79-37D633B846F1}">
                <asvg:svgBlip xmlns:asvg="http://schemas.microsoft.com/office/drawing/2016/SVG/main" r:embed="rId8" r:link="rId9"/>
              </a:ext>
            </a:extLst>
          </a:blip>
          <a:srcRect/>
          <a:stretch>
            <a:fillRect/>
          </a:stretch>
        </p:blipFill>
        <p:spPr>
          <a:xfrm>
            <a:off x="3217038" y="1269000"/>
            <a:ext cx="8640000" cy="4320000"/>
          </a:xfrm>
          <a:prstGeom prst="rect">
            <a:avLst/>
          </a:prstGeom>
        </p:spPr>
      </p:pic>
      <p:pic>
        <p:nvPicPr>
          <p:cNvPr id="5" name="Billede 4" descr="\documentclass{article}&#10;\usepackage{amsmath}&#10;\pagestyle{empty}&#10;\begin{document}&#10;&#10;\begin{align}&#10;    \text{sMAPE} &amp; =\frac{100}{m}\sum_{t=1}^{m} \frac{\vert y_{t}-\hat{y}_{t}\vert}{\vert y_{t} \vert + \vert \hat{y}_{t}\vert}\label{eq:smape} \\&#10;    \text{RMSE} &amp; = \sqrt{\frac{1}{m}\sum_{t=1}^{m}(y_t-\hat{y}_t)^2} \label{eq:rmse}&#10;\end{align}&#10;\end{document}" title="IguanaTex Bitmap Display">
            <a:extLst>
              <a:ext uri="{FF2B5EF4-FFF2-40B4-BE49-F238E27FC236}">
                <a16:creationId xmlns:a16="http://schemas.microsoft.com/office/drawing/2014/main" id="{ED04EF7B-D88D-6242-1524-30BC9A659745}"/>
              </a:ext>
            </a:extLst>
          </p:cNvPr>
          <p:cNvPicPr>
            <a:picLocks noChangeAspect="1"/>
          </p:cNvPicPr>
          <p:nvPr>
            <p:custDataLst>
              <p:tags r:id="rId2"/>
            </p:custDataLst>
          </p:nvPr>
        </p:nvPicPr>
        <p:blipFill>
          <a:blip r:embed="rId10"/>
          <a:stretch>
            <a:fillRect/>
          </a:stretch>
        </p:blipFill>
        <p:spPr>
          <a:xfrm>
            <a:off x="123825" y="5416910"/>
            <a:ext cx="2558226" cy="748941"/>
          </a:xfrm>
          <a:prstGeom prst="rect">
            <a:avLst/>
          </a:prstGeom>
        </p:spPr>
      </p:pic>
    </p:spTree>
    <p:extLst>
      <p:ext uri="{BB962C8B-B14F-4D97-AF65-F5344CB8AC3E}">
        <p14:creationId xmlns:p14="http://schemas.microsoft.com/office/powerpoint/2010/main" val="3084406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410614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ruppe 24">
            <a:extLst>
              <a:ext uri="{FF2B5EF4-FFF2-40B4-BE49-F238E27FC236}">
                <a16:creationId xmlns:a16="http://schemas.microsoft.com/office/drawing/2014/main" id="{A2C2722A-AD85-3EE8-5CAB-992F35AC1BCE}"/>
              </a:ext>
            </a:extLst>
          </p:cNvPr>
          <p:cNvGrpSpPr/>
          <p:nvPr/>
        </p:nvGrpSpPr>
        <p:grpSpPr>
          <a:xfrm>
            <a:off x="3574247" y="162973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629733"/>
            <a:ext cx="2170921" cy="2653034"/>
            <a:chOff x="6064561" y="1644256"/>
            <a:chExt cx="2170921" cy="2653034"/>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1905137"/>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En nøjagtig forudsigelse og vurdering af marginer er afgørende for at optimere økonomisk ydeevne og bæredygtighed for byggeprojekter.</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629733"/>
            <a:ext cx="2170921" cy="3123932"/>
            <a:chOff x="8693236" y="1644256"/>
            <a:chExt cx="2170921" cy="3123932"/>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En mere præcis risikovurdering understøttet af maskinlæringsmodeller kan bidrage til at minimere uventede udfordringer og forbedre projektplanlægning og beslutningstagning.</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62973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De konventionelle metoder, der i øjeblikket anvendes, har vist sig utilstrækkelige til at tackle den komplekse og dynamiske karakter af byggeprojekter.</a:t>
              </a:r>
            </a:p>
            <a:p>
              <a:pPr marL="0" indent="0">
                <a:buFont typeface="Arial" pitchFamily="34" charset="0"/>
                <a:buNone/>
              </a:pPr>
              <a:endParaRPr lang="da-DK" sz="1600" dirty="0"/>
            </a:p>
          </p:txBody>
        </p:sp>
      </p:grpSp>
      <p:sp>
        <p:nvSpPr>
          <p:cNvPr id="6" name="Titel 1">
            <a:extLst>
              <a:ext uri="{FF2B5EF4-FFF2-40B4-BE49-F238E27FC236}">
                <a16:creationId xmlns:a16="http://schemas.microsoft.com/office/drawing/2014/main" id="{A84F8E7E-72E1-5233-0246-C698E7D7D176}"/>
              </a:ext>
            </a:extLst>
          </p:cNvPr>
          <p:cNvSpPr txBox="1">
            <a:spLocks/>
          </p:cNvSpPr>
          <p:nvPr/>
        </p:nvSpPr>
        <p:spPr>
          <a:xfrm>
            <a:off x="982663" y="220302"/>
            <a:ext cx="10874375" cy="633379"/>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101047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Problemformulering</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Maskinlæringsmodeller</a:t>
            </a:r>
            <a:endParaRPr lang="da-DK" sz="1600" dirty="0"/>
          </a:p>
          <a:p>
            <a:pPr lvl="1">
              <a:lnSpc>
                <a:spcPct val="100000"/>
              </a:lnSpc>
            </a:pPr>
            <a:r>
              <a:rPr lang="da-DK" sz="1600" dirty="0"/>
              <a:t>Bygge- og anlægsbranchen, herunder ELCONs Entrepriseforretning, står over for talrige udfordringer, såsom begrænsede marginer, hyppige budgetoverskridelser og svingende produktivitetsmålinger.</a:t>
            </a:r>
          </a:p>
          <a:p>
            <a:pPr lvl="1">
              <a:lnSpc>
                <a:spcPct val="100000"/>
              </a:lnSpc>
            </a:pPr>
            <a:r>
              <a:rPr lang="da-DK" sz="1600" dirty="0"/>
              <a:t>De konventionelle metoder, der i øjeblikket anvendes, har vist sig utilstrækkelige til at tackle den komplekse og dynamiske karakter af byggeprojekter.</a:t>
            </a:r>
          </a:p>
          <a:p>
            <a:pPr lvl="1">
              <a:lnSpc>
                <a:spcPct val="100000"/>
              </a:lnSpc>
            </a:pPr>
            <a:r>
              <a:rPr lang="da-DK" sz="1600" dirty="0"/>
              <a:t>Dette nødvendiggør udforskningen af mere avancerede og integrerede tilgange for bedre at styre og forudsige projektresultater.</a:t>
            </a:r>
          </a:p>
          <a:p>
            <a:pPr>
              <a:lnSpc>
                <a:spcPct val="100000"/>
              </a:lnSpc>
            </a:pPr>
            <a:r>
              <a:rPr lang="da-DK" b="1" dirty="0"/>
              <a:t>Forudsigelser</a:t>
            </a:r>
            <a:endParaRPr lang="da-DK" sz="1600" dirty="0"/>
          </a:p>
          <a:p>
            <a:pPr lvl="1">
              <a:lnSpc>
                <a:spcPct val="100000"/>
              </a:lnSpc>
            </a:pPr>
            <a:r>
              <a:rPr lang="da-DK" sz="1600" dirty="0"/>
              <a:t>Kernen i denne undersøgelse er det centrale forskningsspørgsmål: Kan maskinlæringsmodeller nøjagtigt forudsige marginer og risici ved byggeprojekter?</a:t>
            </a:r>
          </a:p>
          <a:p>
            <a:pPr lvl="1">
              <a:lnSpc>
                <a:spcPct val="100000"/>
              </a:lnSpc>
            </a:pPr>
            <a:r>
              <a:rPr lang="da-DK" sz="1600" dirty="0"/>
              <a:t>Dette spørgsmål opstår på baggrund af de begrænsninger, der er observeret i de nuværende subjektive risikovurderingspraksis inden for ELCONs Entrepriseforretning, som mangler en formel statistisk grundlag.</a:t>
            </a:r>
          </a:p>
          <a:p>
            <a:pPr lvl="1">
              <a:lnSpc>
                <a:spcPct val="100000"/>
              </a:lnSpc>
            </a:pPr>
            <a:r>
              <a:rPr lang="da-DK" sz="1600" dirty="0"/>
              <a:t>Divisionens betydelige bidrag til virksomhedens økonomi understreger det presserende behov for en mere robust og tilpasningsdygtig datamodel.</a:t>
            </a:r>
          </a:p>
          <a:p>
            <a:pPr lvl="1">
              <a:lnSpc>
                <a:spcPct val="100000"/>
              </a:lnSpc>
            </a:pPr>
            <a:r>
              <a:rPr lang="da-DK" sz="1600" dirty="0"/>
              <a:t>En sådan model er forestillet at nøjagtigt evaluere risici, forudsige marginer og støtte mere informerede beslutningstagning, hvilket dermed forbedrer den overordnede styring af byggeprojekter.</a:t>
            </a:r>
          </a:p>
        </p:txBody>
      </p:sp>
    </p:spTree>
    <p:extLst>
      <p:ext uri="{BB962C8B-B14F-4D97-AF65-F5344CB8AC3E}">
        <p14:creationId xmlns:p14="http://schemas.microsoft.com/office/powerpoint/2010/main" val="3353554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Problemformulering</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Marginer</a:t>
            </a:r>
            <a:endParaRPr lang="da-DK" sz="1600" dirty="0"/>
          </a:p>
          <a:p>
            <a:pPr lvl="1">
              <a:lnSpc>
                <a:spcPct val="100000"/>
              </a:lnSpc>
            </a:pPr>
            <a:r>
              <a:rPr lang="da-DK" sz="1600" dirty="0"/>
              <a:t>ELCONs Entrepriseforretning står over for udfordringer med at opretholde tilfredsstillende dækningsgrader inden for byggeprojekter.</a:t>
            </a:r>
          </a:p>
          <a:p>
            <a:pPr lvl="1">
              <a:lnSpc>
                <a:spcPct val="100000"/>
              </a:lnSpc>
            </a:pPr>
            <a:r>
              <a:rPr lang="da-DK" sz="1600" dirty="0"/>
              <a:t>Den eksisterende praksis og metoder har vist sig utilstrækkelige til at sikre konsistente og forudsigelige marginer på tværs af projekter.</a:t>
            </a:r>
          </a:p>
          <a:p>
            <a:pPr lvl="1">
              <a:lnSpc>
                <a:spcPct val="100000"/>
              </a:lnSpc>
            </a:pPr>
            <a:r>
              <a:rPr lang="da-DK" sz="1600" dirty="0"/>
              <a:t>En nøjagtig forudsigelse og vurdering af marginer er afgørende for at optimere økonomisk ydeevne og bæredygtighed for byggeprojekter.</a:t>
            </a:r>
          </a:p>
          <a:p>
            <a:pPr>
              <a:lnSpc>
                <a:spcPct val="100000"/>
              </a:lnSpc>
            </a:pPr>
            <a:r>
              <a:rPr lang="da-DK" b="1" dirty="0"/>
              <a:t>Risici</a:t>
            </a:r>
            <a:endParaRPr lang="da-DK" sz="1600" dirty="0"/>
          </a:p>
          <a:p>
            <a:pPr lvl="1">
              <a:lnSpc>
                <a:spcPct val="100000"/>
              </a:lnSpc>
            </a:pPr>
            <a:r>
              <a:rPr lang="da-DK" sz="1600" dirty="0"/>
              <a:t>Identifikation og vurdering af risici inden for byggeprojekter er en kompleks opgave, der har stor indflydelse på projektets succes.</a:t>
            </a:r>
          </a:p>
          <a:p>
            <a:pPr lvl="1">
              <a:lnSpc>
                <a:spcPct val="100000"/>
              </a:lnSpc>
            </a:pPr>
            <a:r>
              <a:rPr lang="da-DK" sz="1600" dirty="0"/>
              <a:t>Aktuelle risikovurderingsmetoder inden for ELCONs Entrepriseforretning er baseret på subjektive bedømmelser og mangler en solid statistisk grundlag.</a:t>
            </a:r>
          </a:p>
          <a:p>
            <a:pPr lvl="1">
              <a:lnSpc>
                <a:spcPct val="100000"/>
              </a:lnSpc>
            </a:pPr>
            <a:r>
              <a:rPr lang="da-DK" sz="1600" dirty="0"/>
              <a:t>En mere præcis risikovurdering understøttet af maskinlæringsmodeller kan bidrage til at minimere uventede udfordringer og forbedre projektplanlægning og beslutningstagning.</a:t>
            </a:r>
          </a:p>
          <a:p>
            <a:pPr lvl="1">
              <a:lnSpc>
                <a:spcPct val="100000"/>
              </a:lnSpc>
            </a:pPr>
            <a:r>
              <a:rPr lang="da-DK" sz="1600" dirty="0"/>
              <a:t>Dette vil øge den overordnede effektivitet og succesrate for byggeprojekter inden for divisionen.</a:t>
            </a:r>
          </a:p>
        </p:txBody>
      </p:sp>
    </p:spTree>
    <p:extLst>
      <p:ext uri="{BB962C8B-B14F-4D97-AF65-F5344CB8AC3E}">
        <p14:creationId xmlns:p14="http://schemas.microsoft.com/office/powerpoint/2010/main" val="102364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Modell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Lineære modeller</a:t>
            </a:r>
          </a:p>
          <a:p>
            <a:pPr lvl="1">
              <a:lnSpc>
                <a:spcPct val="100000"/>
              </a:lnSpc>
            </a:pPr>
            <a:r>
              <a:rPr lang="da-DK" dirty="0"/>
              <a:t>Lineær regression (OLS)</a:t>
            </a:r>
          </a:p>
          <a:p>
            <a:pPr lvl="2">
              <a:lnSpc>
                <a:spcPct val="100000"/>
              </a:lnSpc>
            </a:pPr>
            <a:r>
              <a:rPr lang="da-DK" sz="1600" dirty="0"/>
              <a:t>Forecast Combinations</a:t>
            </a:r>
          </a:p>
          <a:p>
            <a:pPr>
              <a:lnSpc>
                <a:spcPct val="100000"/>
              </a:lnSpc>
            </a:pPr>
            <a:r>
              <a:rPr lang="da-DK" b="1" dirty="0"/>
              <a:t>Maskinlæringsmodeller</a:t>
            </a:r>
          </a:p>
          <a:p>
            <a:pPr lvl="1">
              <a:lnSpc>
                <a:spcPct val="100000"/>
              </a:lnSpc>
            </a:pPr>
            <a:r>
              <a:rPr lang="da-DK" dirty="0" err="1"/>
              <a:t>Bagging</a:t>
            </a:r>
            <a:endParaRPr lang="da-DK" dirty="0"/>
          </a:p>
          <a:p>
            <a:pPr lvl="2">
              <a:lnSpc>
                <a:spcPct val="100000"/>
              </a:lnSpc>
            </a:pPr>
            <a:r>
              <a:rPr lang="da-DK" sz="1600" dirty="0" err="1"/>
              <a:t>Random</a:t>
            </a:r>
            <a:r>
              <a:rPr lang="da-DK" sz="1600" dirty="0"/>
              <a:t> Forest</a:t>
            </a:r>
          </a:p>
          <a:p>
            <a:pPr lvl="2">
              <a:lnSpc>
                <a:spcPct val="100000"/>
              </a:lnSpc>
            </a:pPr>
            <a:r>
              <a:rPr lang="da-DK" sz="1600" dirty="0" err="1"/>
              <a:t>EXTremely</a:t>
            </a:r>
            <a:r>
              <a:rPr lang="da-DK" sz="1600" dirty="0"/>
              <a:t> </a:t>
            </a:r>
            <a:r>
              <a:rPr lang="da-DK" sz="1600" dirty="0" err="1"/>
              <a:t>RAndomized</a:t>
            </a:r>
            <a:r>
              <a:rPr lang="da-DK" sz="1600" dirty="0"/>
              <a:t> Trees</a:t>
            </a:r>
          </a:p>
          <a:p>
            <a:pPr lvl="1">
              <a:lnSpc>
                <a:spcPct val="100000"/>
              </a:lnSpc>
            </a:pPr>
            <a:r>
              <a:rPr lang="da-DK" dirty="0" err="1"/>
              <a:t>Boosting</a:t>
            </a:r>
            <a:endParaRPr lang="da-DK" dirty="0"/>
          </a:p>
          <a:p>
            <a:pPr lvl="2">
              <a:lnSpc>
                <a:spcPct val="100000"/>
              </a:lnSpc>
            </a:pPr>
            <a:r>
              <a:rPr lang="da-DK" sz="1600" dirty="0"/>
              <a:t>Gradient </a:t>
            </a:r>
            <a:r>
              <a:rPr lang="da-DK" sz="1600" dirty="0" err="1"/>
              <a:t>Boosting</a:t>
            </a:r>
            <a:endParaRPr lang="da-DK" sz="1600" dirty="0"/>
          </a:p>
          <a:p>
            <a:pPr lvl="2">
              <a:lnSpc>
                <a:spcPct val="100000"/>
              </a:lnSpc>
            </a:pPr>
            <a:r>
              <a:rPr lang="da-DK" sz="1600" dirty="0" err="1"/>
              <a:t>eXtreme</a:t>
            </a:r>
            <a:r>
              <a:rPr lang="da-DK" sz="1600" dirty="0"/>
              <a:t> Gradient </a:t>
            </a:r>
            <a:r>
              <a:rPr lang="da-DK" sz="1600" dirty="0" err="1"/>
              <a:t>Boosting</a:t>
            </a:r>
            <a:endParaRPr lang="da-DK" sz="1600" dirty="0"/>
          </a:p>
          <a:p>
            <a:pPr>
              <a:lnSpc>
                <a:spcPct val="100000"/>
              </a:lnSpc>
            </a:pPr>
            <a:r>
              <a:rPr lang="da-DK" b="1" dirty="0"/>
              <a:t>Deep Learning</a:t>
            </a:r>
          </a:p>
          <a:p>
            <a:pPr lvl="1">
              <a:lnSpc>
                <a:spcPct val="100000"/>
              </a:lnSpc>
            </a:pPr>
            <a:r>
              <a:rPr lang="da-DK" dirty="0"/>
              <a:t>RNN</a:t>
            </a:r>
          </a:p>
          <a:p>
            <a:pPr lvl="2">
              <a:lnSpc>
                <a:spcPct val="100000"/>
              </a:lnSpc>
            </a:pPr>
            <a:r>
              <a:rPr lang="da-DK" sz="1600" dirty="0"/>
              <a:t>LSTM</a:t>
            </a:r>
          </a:p>
          <a:p>
            <a:pPr lvl="1">
              <a:lnSpc>
                <a:spcPct val="100000"/>
              </a:lnSpc>
            </a:pPr>
            <a:r>
              <a:rPr lang="da-DK" dirty="0"/>
              <a:t>Cross-Learning</a:t>
            </a:r>
          </a:p>
          <a:p>
            <a:pPr lvl="2">
              <a:lnSpc>
                <a:spcPct val="100000"/>
              </a:lnSpc>
            </a:pPr>
            <a:r>
              <a:rPr lang="da-DK" sz="1600" dirty="0"/>
              <a:t>MES-LSTM</a:t>
            </a:r>
          </a:p>
          <a:p>
            <a:pPr marL="0" indent="0">
              <a:lnSpc>
                <a:spcPct val="100000"/>
              </a:lnSpc>
              <a:buNone/>
            </a:pPr>
            <a:endParaRPr lang="da-DK" dirty="0"/>
          </a:p>
        </p:txBody>
      </p:sp>
    </p:spTree>
    <p:extLst>
      <p:ext uri="{BB962C8B-B14F-4D97-AF65-F5344CB8AC3E}">
        <p14:creationId xmlns:p14="http://schemas.microsoft.com/office/powerpoint/2010/main" val="1846737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400,4499"/>
  <p:tag name="ORIGINALWIDTH" val="1961,005"/>
  <p:tag name="OUTPUTTYPE" val="PNG"/>
  <p:tag name="IGUANATEXVERSION" val="160"/>
  <p:tag name="LATEXADDIN" val="\documentclass{article}&#10;\usepackage{amsmath}&#10;\pagestyle{empty}&#10;\begin{document}&#10;&#10;\begin{equation*}&#10;\Phi(x;\mu,\nu)=\left[1+\left(\frac{x(1-\mu)}{\mu(1-x)}\right)^{-\nu}\right]^{-1}&#10;\end{equation*}&#10;&#10;&#10;\end{document}"/>
  <p:tag name="IGUANATEXSIZE" val="20"/>
  <p:tag name="IGUANATEXCURSOR" val="185"/>
  <p:tag name="TRANSPARENCY" val="True"/>
  <p:tag name="LATEXENGINEID" val="0"/>
  <p:tag name="TEMPFOLDER" val="c:\temp\"/>
  <p:tag name="LATEXFORMHEIGHT" val="320"/>
  <p:tag name="LATEXFORMWIDTH" val="385"/>
  <p:tag name="LATEXFORMWRAP" val="True"/>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9820,772"/>
  <p:tag name="ORIGINALWIDTH" val="3312,336"/>
  <p:tag name="OUTPUTTYPE" val="PNG"/>
  <p:tag name="IGUANATEXVERSION" val="160"/>
  <p:tag name="LATEXADDIN" val="\documentclass{article}&#10;\usepackage{amsmath}&#10;\usepackage{adjustbox}&#10;\usepackage{pgfplots}&#10;&#10;\pgfplotsset{compat = newest}&#10;\definecolor{elcon0}{RGB}{0,110,100} % Defining the color #006e64&#10;\definecolor{elcon1}{RGB}{115,72,72} % Defining the color #734848&#10;\definecolor{elcon2}{RGB}{0,78,74} % Defining the color #004e4a&#10;\definecolor{elcon3}{RGB}{193,113,80} % Defining thcolor #c17150&#10;&#10;\usepackage[margin=0.25in]{geometry}&#10;\usepackage{pgfplots}&#10;\pgfplotsset{width=10cm,compat=1.9}&#10;&#10;% We will externalize the figures&#10;\usepgfplotslibrary{external}&#10;\tikzexternalize&#10;&#10;\begin{document}&#10;&#10;&#10;&#10;\begin{figure}[ht]&#10;\centering&#10;\begin{tikzpicture}&#10;    \begin{axis}[&#10;        xmin = 0, xmax = 1,&#10;        ymin = 0, ymax = 1,&#10;        legend style={at={(0.5,-0.1)},anchor=north}, % Positioning the legend&#10;        legend columns=-1] % For horizontal legend&#10;        \addplot[&#10;            domain = 0:1,&#10;            samples = 200,&#10;            smooth,&#10;            thick,&#10;            color=elcon0, % Using the defined color here&#10;        ] {(1+((x*(1-0.5))/(0.5*(1-x)))^(-1))^(-1)};&#10;        \addlegendentry{$\nu=1$}% Label for the first plot;&#10;        \addplot[&#10;            domain = 0:1,&#10;            samples = 200,&#10;            smooth,&#10;            thick,&#10;            color=elcon1, % Using the defined color here&#10;        ] {(1+((x*(1-0.5))/(0.5*(1-x)))^(-2))^(-1)};&#10;        \addlegendentry{$\nu=2$}% Label for the second plot&#10;        \addplot[&#10;            domain = 0:1,&#10;            samples = 200,&#10;            smooth,&#10;            thick,&#10;            color=elcon3, % Using the defined color here&#10;        ] {(1+((x*(1-0.5))/(0.5*(1-x)))^(-3))^(-1)};&#10;        \addlegendentry{$\nu=3$} % Label for the third plot&#10;        % Dashed with \mu = 0.75&#10;        \addplot[&#10;            domain = 0:1,&#10;            samples = 200,&#10;            dashed,&#10;            thin,&#10;            color=elcon0, % Using the defined color here&#10;        ] {(1+((x*(1-0.6))/(0.6*(1-x)))^(-1))^(-1)};&#10;        \addplot[&#10;            domain = 0:1,&#10;            samples = 200,&#10;            dashed,&#10;            thin,&#10;            color=elcon1, % Using the defined color here&#10;        ] {(1+((x*(1-0.6))/(0.6*(1-x)))^(-2))^(-1)};&#10;        \addplot[&#10;            domain = 0:1,&#10;            samples = 200,&#10;            dashed,&#10;            thin,&#10;            color=elcon3, % Using the defined color here&#10;        ] {(1+((x*(1-0.6))/(0.6*(1-x)))^(-3))^(-1)};&#10;    \end{axis}&#10;\end{tikzpicture}&#10;&#10;\end{figure}&#10;&#10;&#10;&#10;\end{document}"/>
  <p:tag name="IGUANATEXSIZE" val="20"/>
  <p:tag name="IGUANATEXCURSOR" val="2397"/>
  <p:tag name="TRANSPARENCY" val="True"/>
  <p:tag name="LATEXENGINEID" val="0"/>
  <p:tag name="TEMPFOLDER" val="c:\temp\"/>
  <p:tag name="LATEXFORMHEIGHT" val="320"/>
  <p:tag name="LATEXFORMWIDTH" val="385"/>
  <p:tag name="LATEXFORMWRAP" val="True"/>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400,4499"/>
  <p:tag name="ORIGINALWIDTH" val="1961,005"/>
  <p:tag name="OUTPUTTYPE" val="PNG"/>
  <p:tag name="IGUANATEXVERSION" val="160"/>
  <p:tag name="LATEXADDIN" val="\documentclass{article}&#10;\usepackage{amsmath}&#10;\pagestyle{empty}&#10;\begin{document}&#10;&#10;\begin{equation*}&#10;\Phi(x;\mu,\nu)=\left[1+\left(\frac{x(1-\mu)}{\mu(1-x)}\right)^{-\nu}\right]^{-1}&#10;\end{equation*}&#10;&#10;&#10;\end{document}"/>
  <p:tag name="IGUANATEXSIZE" val="20"/>
  <p:tag name="IGUANATEXCURSOR" val="185"/>
  <p:tag name="TRANSPARENCY" val="True"/>
  <p:tag name="LATEXENGINEID" val="0"/>
  <p:tag name="TEMPFOLDER" val="c:\temp\"/>
  <p:tag name="LATEXFORMHEIGHT" val="320"/>
  <p:tag name="LATEXFORMWIDTH" val="385"/>
  <p:tag name="LATEXFORMWRAP" val="True"/>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OUTPUTDPI" val="1200"/>
  <p:tag name="ORIGINALHEIGHT" val="854,8931"/>
  <p:tag name="ORIGINALWIDTH" val="2920,135"/>
  <p:tag name="OUTPUTTYPE" val="PNG"/>
  <p:tag name="IGUANATEXVERSION" val="160"/>
  <p:tag name="LATEXADDIN" val="\documentclass{article}&#10;\usepackage{amsmath}&#10;\pagestyle{empty}&#10;\begin{document}&#10;&#10;\begin{align}&#10;    \text{sMAPE} &amp; =\frac{100}{m}\sum_{t=1}^{m} \frac{\vert y_{t}-\hat{y}_{t}\vert}{\vert y_{t} \vert + \vert \hat{y}_{t}\vert}\label{eq:smape} \\&#10;    \text{RMSE} &amp; = \sqrt{\frac{1}{m}\sum_{t=1}^{m}(y_t-\hat{y}_t)^2} \label{eq:rmse}&#10;\end{align}&#10;\end{document}"/>
  <p:tag name="IGUANATEXSIZE" val="20"/>
  <p:tag name="IGUANATEXCURSOR" val="339"/>
  <p:tag name="TRANSPARENCY" val="True"/>
  <p:tag name="LATEXENGINEID" val="0"/>
  <p:tag name="TEMPFOLDER" val="c:\temp\"/>
  <p:tag name="LATEXFORMHEIGHT" val="320"/>
  <p:tag name="LATEXFORMWIDTH" val="385"/>
  <p:tag name="LATEXFORMWRAP" val="True"/>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33</TotalTime>
  <Words>2932</Words>
  <Application>Microsoft Office PowerPoint</Application>
  <PresentationFormat>Widescreen</PresentationFormat>
  <Paragraphs>434</Paragraphs>
  <Slides>47</Slides>
  <Notes>44</Notes>
  <HiddenSlides>7</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47</vt:i4>
      </vt:variant>
    </vt:vector>
  </HeadingPairs>
  <TitlesOfParts>
    <vt:vector size="54"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Problemformulering</vt:lpstr>
      <vt:lpstr>Problemformulering</vt:lpstr>
      <vt:lpstr>Disposition</vt:lpstr>
      <vt:lpstr>Modeller</vt:lpstr>
      <vt:lpstr>Videnskabelige metoder</vt:lpstr>
      <vt:lpstr>Videnskabelige metoder</vt:lpstr>
      <vt:lpstr>Videnskabelige metoder</vt:lpstr>
      <vt:lpstr>Videnskabelige metoder</vt:lpstr>
      <vt:lpstr>Disposition</vt:lpstr>
      <vt:lpstr>Data</vt:lpstr>
      <vt:lpstr>Data</vt:lpstr>
      <vt:lpstr>Data</vt:lpstr>
      <vt:lpstr>Datagrundlag</vt:lpstr>
      <vt:lpstr>Datagrundlag</vt:lpstr>
      <vt:lpstr>Disposition</vt:lpstr>
      <vt:lpstr>Analyse</vt:lpstr>
      <vt:lpstr>Disposition</vt:lpstr>
      <vt:lpstr>Resultater</vt:lpstr>
      <vt:lpstr>Resultater</vt:lpstr>
      <vt:lpstr>Lineære modeller</vt:lpstr>
      <vt:lpstr>Resultater</vt:lpstr>
      <vt:lpstr>Resultater</vt:lpstr>
      <vt:lpstr>Resultater</vt:lpstr>
      <vt:lpstr>Resultater</vt:lpstr>
      <vt:lpstr>Resultater</vt:lpstr>
      <vt:lpstr>Resultater</vt:lpstr>
      <vt:lpstr>Resultater</vt:lpstr>
      <vt:lpstr>Maskinlæringsmodeller</vt:lpstr>
      <vt:lpstr>Resultater</vt:lpstr>
      <vt:lpstr>Resultater</vt:lpstr>
      <vt:lpstr>Resultater</vt:lpstr>
      <vt:lpstr>Resultater</vt:lpstr>
      <vt:lpstr>Resultater</vt:lpstr>
      <vt:lpstr>Resultater</vt:lpstr>
      <vt:lpstr>Resultater</vt:lpstr>
      <vt:lpstr>Resultater</vt:lpstr>
      <vt:lpstr>Deep Learning</vt:lpstr>
      <vt:lpstr>Resultater</vt:lpstr>
      <vt:lpstr>Resultater</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11-21T09:13:35Z</dcterms:modified>
</cp:coreProperties>
</file>